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FE2A_B5C071F8.xml" ContentType="application/vnd.ms-powerpoint.comments+xml"/>
  <Override PartName="/ppt/notesSlides/notesSlide3.xml" ContentType="application/vnd.openxmlformats-officedocument.presentationml.notesSlide+xml"/>
  <Override PartName="/ppt/comments/modernComment_7FFFFFE6_4A083F7C.xml" ContentType="application/vnd.ms-powerpoint.comments+xml"/>
  <Override PartName="/ppt/notesSlides/notesSlide4.xml" ContentType="application/vnd.openxmlformats-officedocument.presentationml.notesSlide+xml"/>
  <Override PartName="/ppt/comments/modernComment_101_1BE9A4FD.xml" ContentType="application/vnd.ms-powerpoint.comments+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7FFFFFF9_6C26EA01.xml" ContentType="application/vnd.ms-powerpoint.comments+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4"/>
  </p:sldMasterIdLst>
  <p:notesMasterIdLst>
    <p:notesMasterId r:id="rId24"/>
  </p:notesMasterIdLst>
  <p:handoutMasterIdLst>
    <p:handoutMasterId r:id="rId25"/>
  </p:handoutMasterIdLst>
  <p:sldIdLst>
    <p:sldId id="561" r:id="rId5"/>
    <p:sldId id="2147481263" r:id="rId6"/>
    <p:sldId id="2147483178" r:id="rId7"/>
    <p:sldId id="2147483622" r:id="rId8"/>
    <p:sldId id="257" r:id="rId9"/>
    <p:sldId id="2147483589" r:id="rId10"/>
    <p:sldId id="2147483646" r:id="rId11"/>
    <p:sldId id="260" r:id="rId12"/>
    <p:sldId id="263" r:id="rId13"/>
    <p:sldId id="264" r:id="rId14"/>
    <p:sldId id="2147483645" r:id="rId15"/>
    <p:sldId id="2147483639" r:id="rId16"/>
    <p:sldId id="2147483637" r:id="rId17"/>
    <p:sldId id="2147483638" r:id="rId18"/>
    <p:sldId id="2147483647" r:id="rId19"/>
    <p:sldId id="2147483641" r:id="rId20"/>
    <p:sldId id="2147483642" r:id="rId21"/>
    <p:sldId id="2147481459" r:id="rId22"/>
    <p:sldId id="2147483643"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pular" id="{17C44F79-33ED-431D-8346-726ADB3A94A6}">
          <p14:sldIdLst>
            <p14:sldId id="561"/>
            <p14:sldId id="2147481263"/>
            <p14:sldId id="2147483178"/>
            <p14:sldId id="2147483622"/>
            <p14:sldId id="257"/>
            <p14:sldId id="2147483589"/>
            <p14:sldId id="2147483646"/>
            <p14:sldId id="260"/>
            <p14:sldId id="263"/>
            <p14:sldId id="264"/>
            <p14:sldId id="2147483645"/>
            <p14:sldId id="2147483639"/>
            <p14:sldId id="2147483637"/>
            <p14:sldId id="2147483638"/>
            <p14:sldId id="2147483647"/>
            <p14:sldId id="2147483641"/>
            <p14:sldId id="2147483642"/>
            <p14:sldId id="2147481459"/>
            <p14:sldId id="2147483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62A011-9502-3031-0797-38B8B9FEB25F}" name="Wan, Triston" initials="TW" userId="S::triston.wan@softwareone.com::6e51bce8-622e-49e1-9177-a8091fc7073d" providerId="AD"/>
  <p188:author id="{BBB7E411-6E26-E7A6-BC43-1E71647DC11D}" name="Mohanan, Navajith" initials="NM" userId="S::nava.m@softwareone.com::58676fb8-2e00-431d-811c-f5d4c9aaf4d4" providerId="AD"/>
  <p188:author id="{AB1A8133-BDB4-78B2-9374-8F51CC204147}" name="Nayyar, Chirag" initials="CN" userId="S::chirag.nayyar@softwareone.com::65c296ef-7c1c-444d-92c8-8ec155152266" providerId="AD"/>
  <p188:author id="{90498044-6295-71E8-F137-9CB760776C0C}" name="Emily Taverna" initials="ET" userId="S::etaverna@wingate.com.au::40928e10-d94a-4a44-bb09-45992fa3b34a" providerId="AD"/>
  <p188:author id="{2263DF84-97F1-9DBC-E8C2-008C053D6C8F}" name="kapur, Vaibhav" initials="" userId="S::vaibhav.kapur@softwareone.com::9e56d2f1-f26d-4771-ba4a-907263eb6e7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1F1F1"/>
    <a:srgbClr val="17A180"/>
    <a:srgbClr val="2469B3"/>
    <a:srgbClr val="4655A5"/>
    <a:srgbClr val="4654A5"/>
    <a:srgbClr val="4A52A3"/>
    <a:srgbClr val="574A9E"/>
    <a:srgbClr val="573795"/>
    <a:srgbClr val="2E22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31"/>
    <p:restoredTop sz="94649"/>
  </p:normalViewPr>
  <p:slideViewPr>
    <p:cSldViewPr snapToGrid="0">
      <p:cViewPr varScale="1">
        <p:scale>
          <a:sx n="135" d="100"/>
          <a:sy n="135" d="100"/>
        </p:scale>
        <p:origin x="832" y="1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comments/modernComment_101_1BE9A4FD.xml><?xml version="1.0" encoding="utf-8"?>
<p188:cmLst xmlns:a="http://schemas.openxmlformats.org/drawingml/2006/main" xmlns:r="http://schemas.openxmlformats.org/officeDocument/2006/relationships" xmlns:p188="http://schemas.microsoft.com/office/powerpoint/2018/8/main">
  <p188:cm id="{4DB7ED40-8D37-441E-A467-8F15E747D9D2}" authorId="{0962A011-9502-3031-0797-38B8B9FEB25F}" status="resolved" created="2024-08-19T01:29:45.730">
    <ac:txMkLst xmlns:ac="http://schemas.microsoft.com/office/drawing/2013/main/command">
      <pc:docMk xmlns:pc="http://schemas.microsoft.com/office/powerpoint/2013/main/command"/>
      <pc:sldMk xmlns:pc="http://schemas.microsoft.com/office/powerpoint/2013/main/command" cId="468296957" sldId="257"/>
      <ac:spMk id="5" creationId="{14E72FA9-4830-FC6B-E5AB-23D00BD05101}"/>
      <ac:txMk cp="39">
        <ac:context len="23" hash="1693125980"/>
      </ac:txMk>
    </ac:txMkLst>
    <p188:pos x="4812766" y="196909"/>
    <p188:txBody>
      <a:bodyPr/>
      <a:lstStyle/>
      <a:p>
        <a:r>
          <a:rPr lang="en-SG"/>
          <a:t>Change the customer name [@kapur, Vaibhav] </a:t>
        </a:r>
      </a:p>
    </p188:txBody>
  </p188:cm>
  <p188:cm id="{72359A51-8480-4228-A101-F943D8C9B388}" authorId="{0962A011-9502-3031-0797-38B8B9FEB25F}" status="resolved" created="2024-08-19T01:30:01.838">
    <ac:txMkLst xmlns:ac="http://schemas.microsoft.com/office/drawing/2013/main/command">
      <pc:docMk xmlns:pc="http://schemas.microsoft.com/office/powerpoint/2013/main/command"/>
      <pc:sldMk xmlns:pc="http://schemas.microsoft.com/office/powerpoint/2013/main/command" cId="2720719735" sldId="2147483647"/>
      <ac:spMk id="2" creationId="{2DC57D6D-C8E6-F855-5F11-D90E477477CC}"/>
      <ac:txMk cp="182">
        <ac:context len="184" hash="3372439861"/>
      </ac:txMk>
    </ac:txMkLst>
    <p188:pos x="4828950" y="1117189"/>
    <p188:txBody>
      <a:bodyPr/>
      <a:lstStyle/>
      <a:p>
        <a:r>
          <a:rPr lang="en-SG"/>
          <a:t>SAP [@kapur, Vaibhav] </a:t>
        </a:r>
      </a:p>
    </p188:txBody>
  </p188:cm>
  <p188:cm id="{64297217-3638-4591-8F4F-808CAE481F2F}" authorId="{0962A011-9502-3031-0797-38B8B9FEB25F}" status="resolved" created="2024-08-19T01:30:18.729">
    <ac:txMkLst xmlns:ac="http://schemas.microsoft.com/office/drawing/2013/main/command">
      <pc:docMk xmlns:pc="http://schemas.microsoft.com/office/powerpoint/2013/main/command"/>
      <pc:sldMk xmlns:pc="http://schemas.microsoft.com/office/powerpoint/2013/main/command" cId="2720719735" sldId="2147483647"/>
      <ac:spMk id="2" creationId="{2DC57D6D-C8E6-F855-5F11-D90E477477CC}"/>
      <ac:txMk cp="227">
        <ac:context len="228" hash="3612596384"/>
      </ac:txMk>
    </ac:txMkLst>
    <p188:pos x="7628794" y="1117189"/>
    <p188:txBody>
      <a:bodyPr/>
      <a:lstStyle/>
      <a:p>
        <a:r>
          <a:rPr lang="en-SG"/>
          <a:t>Use legacy instead of old [@kapur, Vaibhav] </a:t>
        </a:r>
      </a:p>
    </p188:txBody>
  </p188:cm>
  <p188:cm id="{8B429D8D-E95C-40B1-A5D1-6ED5E5333FCA}" authorId="{0962A011-9502-3031-0797-38B8B9FEB25F}" status="resolved" created="2024-08-19T01:30:49.814">
    <ac:txMkLst xmlns:ac="http://schemas.microsoft.com/office/drawing/2013/main/command">
      <pc:docMk xmlns:pc="http://schemas.microsoft.com/office/powerpoint/2013/main/command"/>
      <pc:sldMk xmlns:pc="http://schemas.microsoft.com/office/powerpoint/2013/main/command" cId="2720719735" sldId="2147483647"/>
      <ac:spMk id="2" creationId="{2DC57D6D-C8E6-F855-5F11-D90E477477CC}"/>
      <ac:txMk cp="186">
        <ac:context len="196" hash="211067812"/>
      </ac:txMk>
    </ac:txMkLst>
    <p188:pos x="9748908" y="1748368"/>
    <p188:txBody>
      <a:bodyPr/>
      <a:lstStyle/>
      <a:p>
        <a:r>
          <a:rPr lang="en-SG"/>
          <a:t>Use IT team instead of engineering team [@kapur, Vaibhav] </a:t>
        </a:r>
      </a:p>
    </p188:txBody>
  </p188:cm>
</p188:cmLst>
</file>

<file path=ppt/comments/modernComment_7FFFFE2A_B5C071F8.xml><?xml version="1.0" encoding="utf-8"?>
<p188:cmLst xmlns:a="http://schemas.openxmlformats.org/drawingml/2006/main" xmlns:r="http://schemas.openxmlformats.org/officeDocument/2006/relationships" xmlns:p188="http://schemas.microsoft.com/office/powerpoint/2018/8/main">
  <p188:cm id="{EF7C8A3F-A853-4387-B19F-F47147221C9F}" authorId="{0962A011-9502-3031-0797-38B8B9FEB25F}" status="resolved" created="2024-08-19T01:29:21.646" startDate="2024-08-19T01:29:21.651" dueDate="2024-08-19T01:29:21.651" assignedTo="{2263DF84-97F1-9DBC-E8C2-008C053D6C8F}" complete="100000" title="Also next generation BI for better performance in terms of speed and improve overall user experience @kapur, Vaibhav ">
    <ac:txMkLst xmlns:ac="http://schemas.microsoft.com/office/drawing/2013/main/command">
      <pc:docMk xmlns:pc="http://schemas.microsoft.com/office/powerpoint/2013/main/command"/>
      <pc:sldMk xmlns:pc="http://schemas.microsoft.com/office/powerpoint/2013/main/command" cId="3049288184" sldId="2147483178"/>
      <ac:spMk id="10" creationId="{DAD97A14-19FB-D8ED-AC8F-FEAE798901D6}"/>
      <ac:txMk cp="10">
        <ac:context len="1054" hash="1169941127"/>
      </ac:txMk>
    </ac:txMkLst>
    <p188:pos x="6204596" y="510394"/>
    <p188:txBody>
      <a:bodyPr/>
      <a:lstStyle/>
      <a:p>
        <a:r>
          <a:rPr lang="en-SG"/>
          <a:t>Also next generation BI for better performance in terms of speed and improve overall user experience [@kapur, Vaibhav] </a:t>
        </a:r>
      </a:p>
    </p188:txBody>
    <p188:extLst>
      <p:ext xmlns:p="http://schemas.openxmlformats.org/presentationml/2006/main" uri="{5BB2D875-25FF-4072-B9AC-8F64D62656EB}">
        <p228:taskDetails xmlns:p228="http://schemas.microsoft.com/office/powerpoint/2022/08/main">
          <p228:history>
            <p228:event time="2024-08-19T01:29:21.646" id="{425F5F3D-1F3C-4F3C-B700-1C171169B3F0}">
              <p228:atrbtn authorId="{0962A011-9502-3031-0797-38B8B9FEB25F}"/>
              <p228:anchr>
                <p228:comment id="{EF7C8A3F-A853-4387-B19F-F47147221C9F}"/>
              </p228:anchr>
              <p228:add/>
            </p228:event>
            <p228:event time="2024-08-19T01:29:21.646" id="{385AB60D-F822-4441-94D9-C00C60A7E5B7}">
              <p228:atrbtn authorId="{0962A011-9502-3031-0797-38B8B9FEB25F}"/>
              <p228:anchr>
                <p228:comment id="{EF7C8A3F-A853-4387-B19F-F47147221C9F}"/>
              </p228:anchr>
              <p228:asgn authorId="{2263DF84-97F1-9DBC-E8C2-008C053D6C8F}"/>
            </p228:event>
            <p228:event time="2024-08-19T01:29:21.646" id="{E5B8018D-0EF9-473F-A194-1AF2C36567BC}">
              <p228:atrbtn authorId="{0962A011-9502-3031-0797-38B8B9FEB25F}"/>
              <p228:anchr>
                <p228:comment id="{EF7C8A3F-A853-4387-B19F-F47147221C9F}"/>
              </p228:anchr>
              <p228:title val="Also next generation BI for better performance in terms of speed and improve overall user experience @kapur, Vaibhav "/>
            </p228:event>
            <p228:event time="2024-08-19T01:29:21.646" id="{D41F9708-28F6-429F-B329-D4ADC65EE507}">
              <p228:atrbtn authorId="{0962A011-9502-3031-0797-38B8B9FEB25F}"/>
              <p228:anchr>
                <p228:comment id="{EF7C8A3F-A853-4387-B19F-F47147221C9F}"/>
              </p228:anchr>
              <p228:date stDt="2024-08-19T01:29:21.651" endDt="2024-08-19T01:29:21.651"/>
            </p228:event>
            <p228:event time="2024-08-19T01:39:42.425" id="{4231E060-4D18-4453-8B70-0B026D27EF9F}">
              <p228:atrbtn authorId="{2263DF84-97F1-9DBC-E8C2-008C053D6C8F}"/>
              <p228:anchr>
                <p228:comment id="{00000000-0000-0000-0000-000000000000}"/>
              </p228:anchr>
              <p228:pcntCmplt val="100000"/>
            </p228:event>
          </p228:history>
        </p228:taskDetails>
      </p:ext>
    </p188:extLst>
  </p188:cm>
</p188:cmLst>
</file>

<file path=ppt/comments/modernComment_7FFFFFE6_4A083F7C.xml><?xml version="1.0" encoding="utf-8"?>
<p188:cmLst xmlns:a="http://schemas.openxmlformats.org/drawingml/2006/main" xmlns:r="http://schemas.openxmlformats.org/officeDocument/2006/relationships" xmlns:p188="http://schemas.microsoft.com/office/powerpoint/2018/8/main">
  <p188:cm id="{9F2E9A29-A838-4417-967C-D091379DFD15}" authorId="{0962A011-9502-3031-0797-38B8B9FEB25F}" status="resolved" created="2024-08-19T01:29:45.730" startDate="2024-08-19T01:29:45.730" dueDate="2024-08-19T01:29:45.730" assignedTo="{2263DF84-97F1-9DBC-E8C2-008C053D6C8F}" complete="100000" title="Change the customer name @kapur, Vaibhav ">
    <ac:txMkLst xmlns:ac="http://schemas.microsoft.com/office/drawing/2013/main/command">
      <pc:docMk xmlns:pc="http://schemas.microsoft.com/office/powerpoint/2013/main/command"/>
      <pc:sldMk xmlns:pc="http://schemas.microsoft.com/office/powerpoint/2013/main/command" cId="1242054524" sldId="2147483622"/>
      <ac:spMk id="5" creationId="{14E72FA9-4830-FC6B-E5AB-23D00BD05101}"/>
      <ac:txMk cp="39">
        <ac:context len="40" hash="1268792103"/>
      </ac:txMk>
    </ac:txMkLst>
    <p188:pos x="4812766" y="196909"/>
    <p188:txBody>
      <a:bodyPr/>
      <a:lstStyle/>
      <a:p>
        <a:r>
          <a:rPr lang="en-SG"/>
          <a:t>Change the customer name [@kapur, Vaibhav] </a:t>
        </a:r>
      </a:p>
    </p188:txBody>
    <p188:extLst>
      <p:ext xmlns:p="http://schemas.openxmlformats.org/presentationml/2006/main" uri="{5BB2D875-25FF-4072-B9AC-8F64D62656EB}">
        <p228:taskDetails xmlns:p228="http://schemas.microsoft.com/office/powerpoint/2022/08/main">
          <p228:history>
            <p228:event time="2024-08-19T01:29:45.730" id="{F902748A-1CA5-4096-9E67-9C636EF7D5F2}">
              <p228:atrbtn authorId="{0962A011-9502-3031-0797-38B8B9FEB25F}"/>
              <p228:anchr>
                <p228:comment id="{9F2E9A29-A838-4417-967C-D091379DFD15}"/>
              </p228:anchr>
              <p228:add/>
            </p228:event>
            <p228:event time="2024-08-19T01:29:45.730" id="{59F692EF-D011-4234-A1F8-2F3B170C104E}">
              <p228:atrbtn authorId="{0962A011-9502-3031-0797-38B8B9FEB25F}"/>
              <p228:anchr>
                <p228:comment id="{9F2E9A29-A838-4417-967C-D091379DFD15}"/>
              </p228:anchr>
              <p228:asgn authorId="{2263DF84-97F1-9DBC-E8C2-008C053D6C8F}"/>
            </p228:event>
            <p228:event time="2024-08-19T01:29:45.730" id="{42300FBA-C1CE-4628-A99E-0C12D16D9F7A}">
              <p228:atrbtn authorId="{0962A011-9502-3031-0797-38B8B9FEB25F}"/>
              <p228:anchr>
                <p228:comment id="{9F2E9A29-A838-4417-967C-D091379DFD15}"/>
              </p228:anchr>
              <p228:title val="Change the customer name @kapur, Vaibhav "/>
            </p228:event>
            <p228:event time="2024-08-19T01:29:45.730" id="{76623F7F-FB99-4744-95D1-F3C1ED559AE7}">
              <p228:atrbtn authorId="{0962A011-9502-3031-0797-38B8B9FEB25F}"/>
              <p228:anchr>
                <p228:comment id="{9F2E9A29-A838-4417-967C-D091379DFD15}"/>
              </p228:anchr>
              <p228:date stDt="2024-08-19T01:29:45.730" endDt="2024-08-19T01:29:45.730"/>
            </p228:event>
            <p228:event time="2024-08-19T01:35:47.108" id="{D10D51E6-9D87-477B-84AC-7C7A1AF238A8}">
              <p228:atrbtn authorId="{2263DF84-97F1-9DBC-E8C2-008C053D6C8F}"/>
              <p228:anchr>
                <p228:comment id="{00000000-0000-0000-0000-000000000000}"/>
              </p228:anchr>
              <p228:pcntCmplt val="100000"/>
            </p228:event>
          </p228:history>
        </p228:taskDetails>
      </p:ext>
    </p188:extLst>
  </p188:cm>
  <p188:cm id="{D1C477DC-B1BB-41F4-ACCD-845A03B1BF65}" authorId="{0962A011-9502-3031-0797-38B8B9FEB25F}" status="resolved" created="2024-08-19T01:30:01.838" startDate="2024-08-19T01:30:01.838" dueDate="2024-08-19T01:30:01.838" assignedTo="{2263DF84-97F1-9DBC-E8C2-008C053D6C8F}" complete="100000" title="SAP @kapur, Vaibhav ">
    <ac:txMkLst xmlns:ac="http://schemas.microsoft.com/office/drawing/2013/main/command">
      <pc:docMk xmlns:pc="http://schemas.microsoft.com/office/powerpoint/2013/main/command"/>
      <pc:sldMk xmlns:pc="http://schemas.microsoft.com/office/powerpoint/2013/main/command" cId="1242054524" sldId="2147483622"/>
      <ac:spMk id="2" creationId="{2DC57D6D-C8E6-F855-5F11-D90E477477CC}"/>
      <ac:txMk cp="182">
        <ac:context len="427" hash="1848330399"/>
      </ac:txMk>
    </ac:txMkLst>
    <p188:pos x="4828950" y="1117189"/>
    <p188:txBody>
      <a:bodyPr/>
      <a:lstStyle/>
      <a:p>
        <a:r>
          <a:rPr lang="en-SG"/>
          <a:t>SAP [@kapur, Vaibhav] </a:t>
        </a:r>
      </a:p>
    </p188:txBody>
    <p188:extLst>
      <p:ext xmlns:p="http://schemas.openxmlformats.org/presentationml/2006/main" uri="{5BB2D875-25FF-4072-B9AC-8F64D62656EB}">
        <p228:taskDetails xmlns:p228="http://schemas.microsoft.com/office/powerpoint/2022/08/main">
          <p228:history>
            <p228:event time="2024-08-19T01:30:01.838" id="{532F42BF-297B-4FCD-839E-E39AF878D1D7}">
              <p228:atrbtn authorId="{0962A011-9502-3031-0797-38B8B9FEB25F}"/>
              <p228:anchr>
                <p228:comment id="{D1C477DC-B1BB-41F4-ACCD-845A03B1BF65}"/>
              </p228:anchr>
              <p228:add/>
            </p228:event>
            <p228:event time="2024-08-19T01:30:01.838" id="{3F1E490C-EE4C-40F2-AA72-D44F758A5F1C}">
              <p228:atrbtn authorId="{0962A011-9502-3031-0797-38B8B9FEB25F}"/>
              <p228:anchr>
                <p228:comment id="{D1C477DC-B1BB-41F4-ACCD-845A03B1BF65}"/>
              </p228:anchr>
              <p228:asgn authorId="{2263DF84-97F1-9DBC-E8C2-008C053D6C8F}"/>
            </p228:event>
            <p228:event time="2024-08-19T01:30:01.838" id="{061E4935-7246-48EB-81CF-29FF7D47F226}">
              <p228:atrbtn authorId="{0962A011-9502-3031-0797-38B8B9FEB25F}"/>
              <p228:anchr>
                <p228:comment id="{D1C477DC-B1BB-41F4-ACCD-845A03B1BF65}"/>
              </p228:anchr>
              <p228:title val="SAP @kapur, Vaibhav "/>
            </p228:event>
            <p228:event time="2024-08-19T01:30:01.838" id="{24120584-19E1-44CD-8CE2-DB4D6E13C8C0}">
              <p228:atrbtn authorId="{0962A011-9502-3031-0797-38B8B9FEB25F}"/>
              <p228:anchr>
                <p228:comment id="{D1C477DC-B1BB-41F4-ACCD-845A03B1BF65}"/>
              </p228:anchr>
              <p228:date stDt="2024-08-19T01:30:01.838" endDt="2024-08-19T01:30:01.838"/>
            </p228:event>
            <p228:event time="2024-08-19T01:36:22.734" id="{8D52E3E1-F0D8-4466-8931-EB8DB38C92E8}">
              <p228:atrbtn authorId="{2263DF84-97F1-9DBC-E8C2-008C053D6C8F}"/>
              <p228:anchr>
                <p228:comment id="{00000000-0000-0000-0000-000000000000}"/>
              </p228:anchr>
              <p228:pcntCmplt val="100000"/>
            </p228:event>
          </p228:history>
        </p228:taskDetails>
      </p:ext>
    </p188:extLst>
  </p188:cm>
  <p188:cm id="{4244A2F3-BE8A-4DE0-83B3-04FCECC3FE8F}" authorId="{0962A011-9502-3031-0797-38B8B9FEB25F}" status="resolved" created="2024-08-19T01:30:18.729" startDate="2024-08-19T01:30:18.729" dueDate="2024-08-19T01:30:18.729" assignedTo="{2263DF84-97F1-9DBC-E8C2-008C053D6C8F}" complete="100000" title="Use legacy instead of old @kapur, Vaibhav ">
    <ac:txMkLst xmlns:ac="http://schemas.microsoft.com/office/drawing/2013/main/command">
      <pc:docMk xmlns:pc="http://schemas.microsoft.com/office/powerpoint/2013/main/command"/>
      <pc:sldMk xmlns:pc="http://schemas.microsoft.com/office/powerpoint/2013/main/command" cId="1242054524" sldId="2147483622"/>
      <ac:spMk id="2" creationId="{2DC57D6D-C8E6-F855-5F11-D90E477477CC}"/>
      <ac:txMk cp="227">
        <ac:context len="427" hash="1848330399"/>
      </ac:txMk>
    </ac:txMkLst>
    <p188:pos x="7628794" y="1117189"/>
    <p188:txBody>
      <a:bodyPr/>
      <a:lstStyle/>
      <a:p>
        <a:r>
          <a:rPr lang="en-SG"/>
          <a:t>Use legacy instead of old [@kapur, Vaibhav] </a:t>
        </a:r>
      </a:p>
    </p188:txBody>
    <p188:extLst>
      <p:ext xmlns:p="http://schemas.openxmlformats.org/presentationml/2006/main" uri="{5BB2D875-25FF-4072-B9AC-8F64D62656EB}">
        <p228:taskDetails xmlns:p228="http://schemas.microsoft.com/office/powerpoint/2022/08/main">
          <p228:history>
            <p228:event time="2024-08-19T01:30:18.729" id="{67B9902A-7B21-420F-8957-4636AF3BF5A5}">
              <p228:atrbtn authorId="{0962A011-9502-3031-0797-38B8B9FEB25F}"/>
              <p228:anchr>
                <p228:comment id="{4244A2F3-BE8A-4DE0-83B3-04FCECC3FE8F}"/>
              </p228:anchr>
              <p228:add/>
            </p228:event>
            <p228:event time="2024-08-19T01:30:18.729" id="{069D3D00-6928-45A0-861F-699EFE6EFCFB}">
              <p228:atrbtn authorId="{0962A011-9502-3031-0797-38B8B9FEB25F}"/>
              <p228:anchr>
                <p228:comment id="{4244A2F3-BE8A-4DE0-83B3-04FCECC3FE8F}"/>
              </p228:anchr>
              <p228:asgn authorId="{2263DF84-97F1-9DBC-E8C2-008C053D6C8F}"/>
            </p228:event>
            <p228:event time="2024-08-19T01:30:18.729" id="{6990AF11-B984-43B7-B1BC-B5C3F6077C46}">
              <p228:atrbtn authorId="{0962A011-9502-3031-0797-38B8B9FEB25F}"/>
              <p228:anchr>
                <p228:comment id="{4244A2F3-BE8A-4DE0-83B3-04FCECC3FE8F}"/>
              </p228:anchr>
              <p228:title val="Use legacy instead of old @kapur, Vaibhav "/>
            </p228:event>
            <p228:event time="2024-08-19T01:30:18.729" id="{59D72651-1EDE-4939-BF2D-F3B20C70C1A3}">
              <p228:atrbtn authorId="{0962A011-9502-3031-0797-38B8B9FEB25F}"/>
              <p228:anchr>
                <p228:comment id="{4244A2F3-BE8A-4DE0-83B3-04FCECC3FE8F}"/>
              </p228:anchr>
              <p228:date stDt="2024-08-19T01:30:18.729" endDt="2024-08-19T01:30:18.729"/>
            </p228:event>
            <p228:event time="2024-08-19T01:36:35.203" id="{2F5CA839-BCF5-4726-8DF6-2EA3FCC18FE2}">
              <p228:atrbtn authorId="{2263DF84-97F1-9DBC-E8C2-008C053D6C8F}"/>
              <p228:anchr>
                <p228:comment id="{00000000-0000-0000-0000-000000000000}"/>
              </p228:anchr>
              <p228:pcntCmplt val="100000"/>
            </p228:event>
          </p228:history>
        </p228:taskDetails>
      </p:ext>
    </p188:extLst>
  </p188:cm>
  <p188:cm id="{07E5FE83-4F93-490D-887B-F8649514ABC3}" authorId="{0962A011-9502-3031-0797-38B8B9FEB25F}" status="resolved" created="2024-08-19T01:30:49.814" startDate="2024-08-19T01:30:49.814" dueDate="2024-08-19T01:30:49.814" assignedTo="{2263DF84-97F1-9DBC-E8C2-008C053D6C8F}" complete="100000" title="Use IT team instead of engineering team @kapur, Vaibhav ">
    <ac:txMkLst xmlns:ac="http://schemas.microsoft.com/office/drawing/2013/main/command">
      <pc:docMk xmlns:pc="http://schemas.microsoft.com/office/powerpoint/2013/main/command"/>
      <pc:sldMk xmlns:pc="http://schemas.microsoft.com/office/powerpoint/2013/main/command" cId="1242054524" sldId="2147483622"/>
      <ac:spMk id="2" creationId="{2DC57D6D-C8E6-F855-5F11-D90E477477CC}"/>
      <ac:txMk cp="186">
        <ac:context len="427" hash="1848330399"/>
      </ac:txMk>
    </ac:txMkLst>
    <p188:pos x="9748908" y="1748368"/>
    <p188:txBody>
      <a:bodyPr/>
      <a:lstStyle/>
      <a:p>
        <a:r>
          <a:rPr lang="en-SG"/>
          <a:t>Use IT team instead of engineering team [@kapur, Vaibhav] </a:t>
        </a:r>
      </a:p>
    </p188:txBody>
    <p188:extLst>
      <p:ext xmlns:p="http://schemas.openxmlformats.org/presentationml/2006/main" uri="{5BB2D875-25FF-4072-B9AC-8F64D62656EB}">
        <p228:taskDetails xmlns:p228="http://schemas.microsoft.com/office/powerpoint/2022/08/main">
          <p228:history>
            <p228:event time="2024-08-19T01:30:49.814" id="{A15C7DA8-AF56-4811-9BD1-FCB90581DC93}">
              <p228:atrbtn authorId="{0962A011-9502-3031-0797-38B8B9FEB25F}"/>
              <p228:anchr>
                <p228:comment id="{07E5FE83-4F93-490D-887B-F8649514ABC3}"/>
              </p228:anchr>
              <p228:add/>
            </p228:event>
            <p228:event time="2024-08-19T01:30:49.814" id="{CDF96C58-3337-4676-8888-01216833FD21}">
              <p228:atrbtn authorId="{0962A011-9502-3031-0797-38B8B9FEB25F}"/>
              <p228:anchr>
                <p228:comment id="{07E5FE83-4F93-490D-887B-F8649514ABC3}"/>
              </p228:anchr>
              <p228:asgn authorId="{2263DF84-97F1-9DBC-E8C2-008C053D6C8F}"/>
            </p228:event>
            <p228:event time="2024-08-19T01:30:49.814" id="{F7C88343-B35D-43C4-9899-B870488C8517}">
              <p228:atrbtn authorId="{0962A011-9502-3031-0797-38B8B9FEB25F}"/>
              <p228:anchr>
                <p228:comment id="{07E5FE83-4F93-490D-887B-F8649514ABC3}"/>
              </p228:anchr>
              <p228:title val="Use IT team instead of engineering team @kapur, Vaibhav "/>
            </p228:event>
            <p228:event time="2024-08-19T01:30:49.814" id="{50837B6B-171B-4047-B335-BF39AF558733}">
              <p228:atrbtn authorId="{0962A011-9502-3031-0797-38B8B9FEB25F}"/>
              <p228:anchr>
                <p228:comment id="{07E5FE83-4F93-490D-887B-F8649514ABC3}"/>
              </p228:anchr>
              <p228:date stDt="2024-08-19T01:30:49.814" endDt="2024-08-19T01:30:49.814"/>
            </p228:event>
            <p228:event time="2024-08-19T01:36:53.156" id="{7BF1E0CE-40B9-48A1-8E7D-7B9915C7429B}">
              <p228:atrbtn authorId="{2263DF84-97F1-9DBC-E8C2-008C053D6C8F}"/>
              <p228:anchr>
                <p228:comment id="{00000000-0000-0000-0000-000000000000}"/>
              </p228:anchr>
              <p228:pcntCmplt val="100000"/>
            </p228:event>
          </p228:history>
        </p228:taskDetails>
      </p:ext>
    </p188:extLst>
  </p188:cm>
</p188:cmLst>
</file>

<file path=ppt/comments/modernComment_7FFFFFF9_6C26EA01.xml><?xml version="1.0" encoding="utf-8"?>
<p188:cmLst xmlns:a="http://schemas.openxmlformats.org/drawingml/2006/main" xmlns:r="http://schemas.openxmlformats.org/officeDocument/2006/relationships" xmlns:p188="http://schemas.microsoft.com/office/powerpoint/2018/8/main">
  <p188:cm id="{AE1EAF82-82CE-4C37-B31D-EA72EF770827}" authorId="{0962A011-9502-3031-0797-38B8B9FEB25F}" status="resolved" created="2024-08-19T01:40:36.241" complete="100000">
    <ac:deMkLst xmlns:ac="http://schemas.microsoft.com/office/drawing/2013/main/command">
      <pc:docMk xmlns:pc="http://schemas.microsoft.com/office/powerpoint/2013/main/command"/>
      <pc:sldMk xmlns:pc="http://schemas.microsoft.com/office/powerpoint/2013/main/command" cId="1814489601" sldId="2147483641"/>
      <ac:spMk id="73" creationId="{F7ACFA61-F146-D41E-D9C3-448FBE639DB5}"/>
    </ac:deMkLst>
    <p188:replyLst>
      <p188:reply id="{F9D63BF3-1EF5-4DD7-BBB3-1FB96B5204C5}" authorId="{2263DF84-97F1-9DBC-E8C2-008C053D6C8F}" created="2024-08-19T01:42:35.693">
        <p188:txBody>
          <a:bodyPr/>
          <a:lstStyle/>
          <a:p>
            <a:r>
              <a:rPr lang="en-US"/>
              <a:t>For IAC.</a:t>
            </a:r>
          </a:p>
        </p188:txBody>
      </p188:reply>
    </p188:replyLst>
    <p188:txBody>
      <a:bodyPr/>
      <a:lstStyle/>
      <a:p>
        <a:r>
          <a:rPr lang="en-SG"/>
          <a:t>Why softwareone Enginee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9851A6-40C5-8B7C-F7F3-B2B7D52A81B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latin typeface="Arial" panose="020B0604020202020204" pitchFamily="34" charset="0"/>
            </a:endParaRPr>
          </a:p>
        </p:txBody>
      </p:sp>
      <p:sp>
        <p:nvSpPr>
          <p:cNvPr id="3" name="Date Placeholder 2">
            <a:extLst>
              <a:ext uri="{FF2B5EF4-FFF2-40B4-BE49-F238E27FC236}">
                <a16:creationId xmlns:a16="http://schemas.microsoft.com/office/drawing/2014/main" id="{8EF0E36C-CACB-CD33-5455-66F01BBDFE5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16C0FF-3C5E-44CA-B5C5-DB5E92E9B15F}" type="datetimeFigureOut">
              <a:rPr lang="en-AU" smtClean="0">
                <a:latin typeface="Arial" panose="020B0604020202020204" pitchFamily="34" charset="0"/>
              </a:rPr>
              <a:t>30/9/2024</a:t>
            </a:fld>
            <a:endParaRPr lang="en-AU">
              <a:latin typeface="Arial" panose="020B0604020202020204" pitchFamily="34" charset="0"/>
            </a:endParaRPr>
          </a:p>
        </p:txBody>
      </p:sp>
      <p:sp>
        <p:nvSpPr>
          <p:cNvPr id="4" name="Footer Placeholder 3">
            <a:extLst>
              <a:ext uri="{FF2B5EF4-FFF2-40B4-BE49-F238E27FC236}">
                <a16:creationId xmlns:a16="http://schemas.microsoft.com/office/drawing/2014/main" id="{9D6C3266-EB3C-851F-2672-21A30A72489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latin typeface="Arial" panose="020B0604020202020204" pitchFamily="34" charset="0"/>
            </a:endParaRPr>
          </a:p>
        </p:txBody>
      </p:sp>
      <p:sp>
        <p:nvSpPr>
          <p:cNvPr id="5" name="Slide Number Placeholder 4">
            <a:extLst>
              <a:ext uri="{FF2B5EF4-FFF2-40B4-BE49-F238E27FC236}">
                <a16:creationId xmlns:a16="http://schemas.microsoft.com/office/drawing/2014/main" id="{E854862A-E7E2-50DA-CDA9-F59F5EF0306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C23114-F7F6-4803-9D3A-C2FF7AC50D8A}" type="slidenum">
              <a:rPr lang="en-AU" smtClean="0">
                <a:latin typeface="Arial" panose="020B0604020202020204" pitchFamily="34" charset="0"/>
              </a:rPr>
              <a:t>‹#›</a:t>
            </a:fld>
            <a:endParaRPr lang="en-AU">
              <a:latin typeface="Arial" panose="020B0604020202020204" pitchFamily="34" charset="0"/>
            </a:endParaRPr>
          </a:p>
        </p:txBody>
      </p:sp>
    </p:spTree>
    <p:extLst>
      <p:ext uri="{BB962C8B-B14F-4D97-AF65-F5344CB8AC3E}">
        <p14:creationId xmlns:p14="http://schemas.microsoft.com/office/powerpoint/2010/main" val="4655952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BE1FC17-2010-4EAF-9C02-1980AB4549AC}" type="datetimeFigureOut">
              <a:rPr lang="en-AU" smtClean="0"/>
              <a:pPr/>
              <a:t>30/9/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B448211-EADB-4DE2-8B6F-2964CA8AB177}" type="slidenum">
              <a:rPr lang="en-AU" smtClean="0"/>
              <a:pPr/>
              <a:t>‹#›</a:t>
            </a:fld>
            <a:endParaRPr lang="en-AU"/>
          </a:p>
        </p:txBody>
      </p:sp>
    </p:spTree>
    <p:extLst>
      <p:ext uri="{BB962C8B-B14F-4D97-AF65-F5344CB8AC3E}">
        <p14:creationId xmlns:p14="http://schemas.microsoft.com/office/powerpoint/2010/main" val="26008993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a:p>
        </p:txBody>
      </p:sp>
      <p:sp>
        <p:nvSpPr>
          <p:cNvPr id="4" name="Slide Number Placeholder 3"/>
          <p:cNvSpPr>
            <a:spLocks noGrp="1"/>
          </p:cNvSpPr>
          <p:nvPr>
            <p:ph type="sldNum" sz="quarter" idx="5"/>
          </p:nvPr>
        </p:nvSpPr>
        <p:spPr/>
        <p:txBody>
          <a:bodyPr/>
          <a:lstStyle/>
          <a:p>
            <a:fld id="{7B448211-EADB-4DE2-8B6F-2964CA8AB177}" type="slidenum">
              <a:rPr lang="en-AU" smtClean="0"/>
              <a:pPr/>
              <a:t>1</a:t>
            </a:fld>
            <a:endParaRPr lang="en-AU"/>
          </a:p>
        </p:txBody>
      </p:sp>
    </p:spTree>
    <p:extLst>
      <p:ext uri="{BB962C8B-B14F-4D97-AF65-F5344CB8AC3E}">
        <p14:creationId xmlns:p14="http://schemas.microsoft.com/office/powerpoint/2010/main" val="2506978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3B594-C598-2C0F-42A2-6F5C34D52A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67C519-E3A1-DF95-B7EC-243D286359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E31675-B52E-60C1-1A52-30F6EDFCE4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F21CA7-8E7A-2ABA-246F-92CABE1BEBC2}"/>
              </a:ext>
            </a:extLst>
          </p:cNvPr>
          <p:cNvSpPr>
            <a:spLocks noGrp="1"/>
          </p:cNvSpPr>
          <p:nvPr>
            <p:ph type="sldNum" sz="quarter" idx="5"/>
          </p:nvPr>
        </p:nvSpPr>
        <p:spPr/>
        <p:txBody>
          <a:bodyPr/>
          <a:lstStyle/>
          <a:p>
            <a:fld id="{7B448211-EADB-4DE2-8B6F-2964CA8AB177}" type="slidenum">
              <a:rPr lang="en-AU" smtClean="0"/>
              <a:pPr/>
              <a:t>13</a:t>
            </a:fld>
            <a:endParaRPr lang="en-AU"/>
          </a:p>
        </p:txBody>
      </p:sp>
    </p:spTree>
    <p:extLst>
      <p:ext uri="{BB962C8B-B14F-4D97-AF65-F5344CB8AC3E}">
        <p14:creationId xmlns:p14="http://schemas.microsoft.com/office/powerpoint/2010/main" val="5317469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92894B-7604-F33E-8925-3DCEC6F3F3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70488B-FD4E-FE59-5667-B1015939C2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CB31C0-B4A9-2DA4-E3B5-212DE488070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3756EE-BE09-F3B2-15B2-A302CBA9D339}"/>
              </a:ext>
            </a:extLst>
          </p:cNvPr>
          <p:cNvSpPr>
            <a:spLocks noGrp="1"/>
          </p:cNvSpPr>
          <p:nvPr>
            <p:ph type="sldNum" sz="quarter" idx="5"/>
          </p:nvPr>
        </p:nvSpPr>
        <p:spPr/>
        <p:txBody>
          <a:bodyPr/>
          <a:lstStyle/>
          <a:p>
            <a:fld id="{7B448211-EADB-4DE2-8B6F-2964CA8AB177}" type="slidenum">
              <a:rPr lang="en-AU" smtClean="0"/>
              <a:pPr/>
              <a:t>14</a:t>
            </a:fld>
            <a:endParaRPr lang="en-AU"/>
          </a:p>
        </p:txBody>
      </p:sp>
    </p:spTree>
    <p:extLst>
      <p:ext uri="{BB962C8B-B14F-4D97-AF65-F5344CB8AC3E}">
        <p14:creationId xmlns:p14="http://schemas.microsoft.com/office/powerpoint/2010/main" val="2959807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867A0-CBBB-959B-CD56-F2FB0D6A90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007B16-D41B-188A-FFB9-048B66A02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576465-4BDF-CB0F-7A84-C0CDDE7550A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2CF9C4-521A-FE39-E0A4-EDE0B2C25E4D}"/>
              </a:ext>
            </a:extLst>
          </p:cNvPr>
          <p:cNvSpPr>
            <a:spLocks noGrp="1"/>
          </p:cNvSpPr>
          <p:nvPr>
            <p:ph type="sldNum" sz="quarter" idx="5"/>
          </p:nvPr>
        </p:nvSpPr>
        <p:spPr/>
        <p:txBody>
          <a:bodyPr/>
          <a:lstStyle/>
          <a:p>
            <a:fld id="{7B448211-EADB-4DE2-8B6F-2964CA8AB177}" type="slidenum">
              <a:rPr lang="en-AU" smtClean="0"/>
              <a:pPr/>
              <a:t>15</a:t>
            </a:fld>
            <a:endParaRPr lang="en-AU"/>
          </a:p>
        </p:txBody>
      </p:sp>
    </p:spTree>
    <p:extLst>
      <p:ext uri="{BB962C8B-B14F-4D97-AF65-F5344CB8AC3E}">
        <p14:creationId xmlns:p14="http://schemas.microsoft.com/office/powerpoint/2010/main" val="15901538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6BEF6-BAFC-3599-C4BB-0C5F2676CE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BE8862-066D-3C9B-96FA-158900F29D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AB4B1B-922F-0CC0-7051-675F99E53C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0A4A3A3-1E7A-4D5F-43D6-17AE90B08899}"/>
              </a:ext>
            </a:extLst>
          </p:cNvPr>
          <p:cNvSpPr>
            <a:spLocks noGrp="1"/>
          </p:cNvSpPr>
          <p:nvPr>
            <p:ph type="sldNum" sz="quarter" idx="5"/>
          </p:nvPr>
        </p:nvSpPr>
        <p:spPr/>
        <p:txBody>
          <a:bodyPr/>
          <a:lstStyle/>
          <a:p>
            <a:fld id="{7B448211-EADB-4DE2-8B6F-2964CA8AB177}" type="slidenum">
              <a:rPr lang="en-AU" smtClean="0"/>
              <a:pPr/>
              <a:t>16</a:t>
            </a:fld>
            <a:endParaRPr lang="en-AU"/>
          </a:p>
        </p:txBody>
      </p:sp>
    </p:spTree>
    <p:extLst>
      <p:ext uri="{BB962C8B-B14F-4D97-AF65-F5344CB8AC3E}">
        <p14:creationId xmlns:p14="http://schemas.microsoft.com/office/powerpoint/2010/main" val="2173377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F778F-EA38-EB49-60EB-B4B08AD618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D5DC5-B406-B4E4-ACC7-E8E4D7448A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7F839F-90DF-209D-7CE0-76112FDFD8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2DEE84-FC3C-9C41-5DAD-84CD273C22F0}"/>
              </a:ext>
            </a:extLst>
          </p:cNvPr>
          <p:cNvSpPr>
            <a:spLocks noGrp="1"/>
          </p:cNvSpPr>
          <p:nvPr>
            <p:ph type="sldNum" sz="quarter" idx="5"/>
          </p:nvPr>
        </p:nvSpPr>
        <p:spPr/>
        <p:txBody>
          <a:bodyPr/>
          <a:lstStyle/>
          <a:p>
            <a:fld id="{7B448211-EADB-4DE2-8B6F-2964CA8AB177}" type="slidenum">
              <a:rPr lang="en-AU" smtClean="0"/>
              <a:pPr/>
              <a:t>18</a:t>
            </a:fld>
            <a:endParaRPr lang="en-AU"/>
          </a:p>
        </p:txBody>
      </p:sp>
    </p:spTree>
    <p:extLst>
      <p:ext uri="{BB962C8B-B14F-4D97-AF65-F5344CB8AC3E}">
        <p14:creationId xmlns:p14="http://schemas.microsoft.com/office/powerpoint/2010/main" val="2021960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Arial"/>
            </a:endParaRPr>
          </a:p>
        </p:txBody>
      </p:sp>
      <p:sp>
        <p:nvSpPr>
          <p:cNvPr id="4" name="Slide Number Placeholder 3"/>
          <p:cNvSpPr>
            <a:spLocks noGrp="1"/>
          </p:cNvSpPr>
          <p:nvPr>
            <p:ph type="sldNum" sz="quarter" idx="5"/>
          </p:nvPr>
        </p:nvSpPr>
        <p:spPr/>
        <p:txBody>
          <a:bodyPr/>
          <a:lstStyle/>
          <a:p>
            <a:fld id="{7B448211-EADB-4DE2-8B6F-2964CA8AB177}" type="slidenum">
              <a:rPr lang="en-AU" smtClean="0"/>
              <a:pPr/>
              <a:t>3</a:t>
            </a:fld>
            <a:endParaRPr lang="en-AU"/>
          </a:p>
        </p:txBody>
      </p:sp>
    </p:spTree>
    <p:extLst>
      <p:ext uri="{BB962C8B-B14F-4D97-AF65-F5344CB8AC3E}">
        <p14:creationId xmlns:p14="http://schemas.microsoft.com/office/powerpoint/2010/main" val="2369019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88BC5-6FC4-3FAC-1C26-A29B8ACA1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3736E3-059F-B814-D69E-02F5487B48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6D5479-2FD1-7D59-73A3-15852A4CEA0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608C19-C774-26E0-7287-E499ABAB2296}"/>
              </a:ext>
            </a:extLst>
          </p:cNvPr>
          <p:cNvSpPr>
            <a:spLocks noGrp="1"/>
          </p:cNvSpPr>
          <p:nvPr>
            <p:ph type="sldNum" sz="quarter" idx="5"/>
          </p:nvPr>
        </p:nvSpPr>
        <p:spPr/>
        <p:txBody>
          <a:bodyPr/>
          <a:lstStyle/>
          <a:p>
            <a:fld id="{7B448211-EADB-4DE2-8B6F-2964CA8AB177}" type="slidenum">
              <a:rPr lang="en-AU" smtClean="0"/>
              <a:pPr/>
              <a:t>4</a:t>
            </a:fld>
            <a:endParaRPr lang="en-AU"/>
          </a:p>
        </p:txBody>
      </p:sp>
    </p:spTree>
    <p:extLst>
      <p:ext uri="{BB962C8B-B14F-4D97-AF65-F5344CB8AC3E}">
        <p14:creationId xmlns:p14="http://schemas.microsoft.com/office/powerpoint/2010/main" val="46044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88BC5-6FC4-3FAC-1C26-A29B8ACA1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3736E3-059F-B814-D69E-02F5487B48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6D5479-2FD1-7D59-73A3-15852A4CEA0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D608C19-C774-26E0-7287-E499ABAB2296}"/>
              </a:ext>
            </a:extLst>
          </p:cNvPr>
          <p:cNvSpPr>
            <a:spLocks noGrp="1"/>
          </p:cNvSpPr>
          <p:nvPr>
            <p:ph type="sldNum" sz="quarter" idx="5"/>
          </p:nvPr>
        </p:nvSpPr>
        <p:spPr/>
        <p:txBody>
          <a:bodyPr/>
          <a:lstStyle/>
          <a:p>
            <a:fld id="{7B448211-EADB-4DE2-8B6F-2964CA8AB177}" type="slidenum">
              <a:rPr lang="en-AU" smtClean="0"/>
              <a:pPr/>
              <a:t>5</a:t>
            </a:fld>
            <a:endParaRPr lang="en-AU"/>
          </a:p>
        </p:txBody>
      </p:sp>
    </p:spTree>
    <p:extLst>
      <p:ext uri="{BB962C8B-B14F-4D97-AF65-F5344CB8AC3E}">
        <p14:creationId xmlns:p14="http://schemas.microsoft.com/office/powerpoint/2010/main" val="435517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448211-EADB-4DE2-8B6F-2964CA8AB177}" type="slidenum">
              <a:rPr kumimoji="0" lang="en-AU"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60939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3F8F0-0045-7278-B6AC-E864E06A15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22034B-D032-CC04-7991-6EF9B19C14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B96003-C0BD-995B-AF30-3B6E9DD6F3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ECDBAA-90DD-C0E5-FD99-786C98189555}"/>
              </a:ext>
            </a:extLst>
          </p:cNvPr>
          <p:cNvSpPr>
            <a:spLocks noGrp="1"/>
          </p:cNvSpPr>
          <p:nvPr>
            <p:ph type="sldNum" sz="quarter" idx="5"/>
          </p:nvPr>
        </p:nvSpPr>
        <p:spPr/>
        <p:txBody>
          <a:bodyPr/>
          <a:lstStyle/>
          <a:p>
            <a:fld id="{7B448211-EADB-4DE2-8B6F-2964CA8AB177}" type="slidenum">
              <a:rPr lang="en-AU" smtClean="0"/>
              <a:pPr/>
              <a:t>8</a:t>
            </a:fld>
            <a:endParaRPr lang="en-AU"/>
          </a:p>
        </p:txBody>
      </p:sp>
    </p:spTree>
    <p:extLst>
      <p:ext uri="{BB962C8B-B14F-4D97-AF65-F5344CB8AC3E}">
        <p14:creationId xmlns:p14="http://schemas.microsoft.com/office/powerpoint/2010/main" val="2990742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70262-EC6D-902E-87ED-ED3523285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0FFF7-FC7B-DDC1-F7F4-0ADE06DEF6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A539F8-3C0A-C539-E188-D2500FDA924C}"/>
              </a:ext>
            </a:extLst>
          </p:cNvPr>
          <p:cNvSpPr>
            <a:spLocks noGrp="1"/>
          </p:cNvSpPr>
          <p:nvPr>
            <p:ph type="body" idx="1"/>
          </p:nvPr>
        </p:nvSpPr>
        <p:spPr/>
        <p:txBody>
          <a:bodyPr/>
          <a:lstStyle/>
          <a:p>
            <a:pPr marL="0" marR="0">
              <a:lnSpc>
                <a:spcPct val="107000"/>
              </a:lnSpc>
              <a:spcBef>
                <a:spcPts val="0"/>
              </a:spcBef>
              <a:spcAft>
                <a:spcPts val="0"/>
              </a:spcAft>
            </a:pPr>
            <a:r>
              <a:rPr lang="en-GB" sz="1800" b="1">
                <a:effectLst/>
                <a:latin typeface="Arial" panose="020B0604020202020204" pitchFamily="34" charset="0"/>
                <a:ea typeface="Calibri" panose="020F0502020204030204" pitchFamily="34" charset="0"/>
                <a:cs typeface="Arial" panose="020B0604020202020204" pitchFamily="34" charset="0"/>
              </a:rPr>
              <a:t>Data Foundations</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0">
                <a:effectLst/>
                <a:latin typeface="Arial" panose="020B0604020202020204" pitchFamily="34" charset="0"/>
                <a:ea typeface="Calibri" panose="020F0502020204030204" pitchFamily="34" charset="0"/>
                <a:cs typeface="Arial" panose="020B0604020202020204" pitchFamily="34" charset="0"/>
              </a:rPr>
              <a:t>Advisory Services</a:t>
            </a:r>
            <a:endParaRPr lang="en-GB" sz="1800" b="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Energise your organisation's data prowess, driving toward data-fuelled decisions. We empower you to harness the full spectrum of your data's potential.</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Improve data ecosystem maturity </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Envision and align your data strategy</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Migration and modernisation assessments</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0">
                <a:effectLst/>
                <a:latin typeface="Arial" panose="020B0604020202020204" pitchFamily="34" charset="0"/>
                <a:ea typeface="Calibri" panose="020F0502020204030204" pitchFamily="34" charset="0"/>
                <a:cs typeface="Arial" panose="020B0604020202020204" pitchFamily="34" charset="0"/>
              </a:rPr>
              <a:t>Platform Services</a:t>
            </a:r>
            <a:endParaRPr lang="en-GB" sz="1800" b="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Elevate your capabilities with a robust data foundation, ensuring streamlined processing and insights at your fingertips. Through modern platforms, seamless migrations, and optimised data operations, we weave technology with strategy to supercharge your data proficiency.</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Migrate legacy systems to advanced cloud environment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Streamline and accelerate data operation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Align governance for compliance and productivity</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0">
                <a:effectLst/>
                <a:latin typeface="Arial" panose="020B0604020202020204" pitchFamily="34" charset="0"/>
                <a:ea typeface="Calibri" panose="020F0502020204030204" pitchFamily="34" charset="0"/>
                <a:cs typeface="Arial" panose="020B0604020202020204" pitchFamily="34" charset="0"/>
              </a:rPr>
              <a:t>Solutions Services</a:t>
            </a:r>
            <a:endParaRPr lang="en-GB" sz="1800" b="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Dive deep into your data, unveiling the stories it tells to enhance decision-making and optimise performance. Through engaging visualisations, systematic business intelligence, and insightful analytics, we transform raw data into your competitive edge.</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Craft interactive visual reports from raw data</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Mine business intelligence for process optimisation</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Understand past trends to guide future decisions</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1">
                <a:effectLst/>
                <a:latin typeface="Arial" panose="020B0604020202020204" pitchFamily="34" charset="0"/>
                <a:ea typeface="Calibri" panose="020F0502020204030204" pitchFamily="34" charset="0"/>
                <a:cs typeface="Arial" panose="020B0604020202020204" pitchFamily="34" charset="0"/>
              </a:rPr>
              <a:t>Analytics and AI</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0">
                <a:effectLst/>
                <a:latin typeface="Arial" panose="020B0604020202020204" pitchFamily="34" charset="0"/>
                <a:ea typeface="Calibri" panose="020F0502020204030204" pitchFamily="34" charset="0"/>
                <a:cs typeface="Arial" panose="020B0604020202020204" pitchFamily="34" charset="0"/>
              </a:rPr>
              <a:t>Advisory Services</a:t>
            </a:r>
            <a:endParaRPr lang="en-GB" sz="1800" b="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Unleash AI's transformative power, aiming for tangible business wins. We introduce AI's vast capabilities, assess your current state, and co-create solutions that resonate with your aspiration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Envision and align your AI strategy</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Generate analytics and AI use cases</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0">
                <a:effectLst/>
                <a:latin typeface="Arial" panose="020B0604020202020204" pitchFamily="34" charset="0"/>
                <a:ea typeface="Calibri" panose="020F0502020204030204" pitchFamily="34" charset="0"/>
                <a:cs typeface="Arial" panose="020B0604020202020204" pitchFamily="34" charset="0"/>
              </a:rPr>
              <a:t>Platform Services</a:t>
            </a:r>
            <a:endParaRPr lang="en-GB" sz="1800" b="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Enable the power of advanced analytics in your organisation, driving innovation with leading platforms and processes. Through specialised data science platforms, streamlined model operations, and adoption of generative AI, we propel you to the forefront of the AI revolution.</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Design innovative solution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Launch ready-to-use infrastructure and templates for data science project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Efficiently manage and scale machine learning model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Tap into the potential of generative AI with industry-leading platforms</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 </a:t>
            </a:r>
            <a:endParaRPr lang="en-GB" sz="180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b="0">
                <a:effectLst/>
                <a:latin typeface="Arial" panose="020B0604020202020204" pitchFamily="34" charset="0"/>
                <a:ea typeface="Calibri" panose="020F0502020204030204" pitchFamily="34" charset="0"/>
                <a:cs typeface="Arial" panose="020B0604020202020204" pitchFamily="34" charset="0"/>
              </a:rPr>
              <a:t>Solutions Services</a:t>
            </a:r>
            <a:endParaRPr lang="en-GB" sz="1800" b="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GB" sz="1800">
                <a:effectLst/>
                <a:latin typeface="Arial" panose="020B0604020202020204" pitchFamily="34" charset="0"/>
                <a:ea typeface="Calibri" panose="020F0502020204030204" pitchFamily="34" charset="0"/>
                <a:cs typeface="Arial" panose="020B0604020202020204" pitchFamily="34" charset="0"/>
              </a:rPr>
              <a:t>Unearth profound insights from your data, propelling your organisation into a future where decisions are precise, responses are immediate, and complexities simplified. Our suite of accelerators employs cutting-edge analytics and AI, crafting a roadmap where predictions guide decisions and automation becomes second nature.</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Predict future trends and drive actions with targeted recommendations</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Gain instantaneous insights from ever-changing data</a:t>
            </a:r>
            <a:endParaRPr lang="en-GB" sz="1800">
              <a:effectLs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GB" sz="1800">
                <a:effectLst/>
                <a:latin typeface="Arial" panose="020B0604020202020204" pitchFamily="34" charset="0"/>
                <a:ea typeface="Calibri" panose="020F0502020204030204" pitchFamily="34" charset="0"/>
                <a:cs typeface="Arial" panose="020B0604020202020204" pitchFamily="34" charset="0"/>
              </a:rPr>
              <a:t>Craft AI models that continually adapt and improve, emulating human thought</a:t>
            </a:r>
            <a:endParaRPr lang="en-GB" sz="1800">
              <a:effectLst/>
              <a:ea typeface="Calibri" panose="020F0502020204030204" pitchFamily="34" charset="0"/>
              <a:cs typeface="Arial" panose="020B0604020202020204" pitchFamily="34" charset="0"/>
            </a:endParaRPr>
          </a:p>
          <a:p>
            <a:br>
              <a:rPr lang="en-GB"/>
            </a:br>
            <a:br>
              <a:rPr lang="en-GB"/>
            </a:br>
            <a:endParaRPr lang="en-GB"/>
          </a:p>
        </p:txBody>
      </p:sp>
      <p:sp>
        <p:nvSpPr>
          <p:cNvPr id="4" name="Slide Number Placeholder 3">
            <a:extLst>
              <a:ext uri="{FF2B5EF4-FFF2-40B4-BE49-F238E27FC236}">
                <a16:creationId xmlns:a16="http://schemas.microsoft.com/office/drawing/2014/main" id="{AA71EF75-B2C2-F82A-6891-D9A5789383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448211-EADB-4DE2-8B6F-2964CA8AB177}" type="slidenum">
              <a:rPr kumimoji="0" lang="en-AU"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37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C46FC-82EE-2F31-0CEA-E03745DC0E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FA666A-8016-D3CD-D081-92DE0FAD37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E3BAF9-5D10-AEAA-9020-C32094D06C8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0E51BB-AE8C-D037-F56E-B3C257A4B4F6}"/>
              </a:ext>
            </a:extLst>
          </p:cNvPr>
          <p:cNvSpPr>
            <a:spLocks noGrp="1"/>
          </p:cNvSpPr>
          <p:nvPr>
            <p:ph type="sldNum" sz="quarter" idx="5"/>
          </p:nvPr>
        </p:nvSpPr>
        <p:spPr/>
        <p:txBody>
          <a:bodyPr/>
          <a:lstStyle/>
          <a:p>
            <a:fld id="{7B448211-EADB-4DE2-8B6F-2964CA8AB177}" type="slidenum">
              <a:rPr lang="en-AU" smtClean="0"/>
              <a:pPr/>
              <a:t>11</a:t>
            </a:fld>
            <a:endParaRPr lang="en-AU"/>
          </a:p>
        </p:txBody>
      </p:sp>
    </p:spTree>
    <p:extLst>
      <p:ext uri="{BB962C8B-B14F-4D97-AF65-F5344CB8AC3E}">
        <p14:creationId xmlns:p14="http://schemas.microsoft.com/office/powerpoint/2010/main" val="3920665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FAE20-C28C-AEFD-5B9F-AECA7BC660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191D20-65C7-0751-DE07-D726F3351D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126C0E-B7B2-5662-56E5-63DB3DAFC5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BF8320-2398-8CD8-5441-35AC580500AE}"/>
              </a:ext>
            </a:extLst>
          </p:cNvPr>
          <p:cNvSpPr>
            <a:spLocks noGrp="1"/>
          </p:cNvSpPr>
          <p:nvPr>
            <p:ph type="sldNum" sz="quarter" idx="5"/>
          </p:nvPr>
        </p:nvSpPr>
        <p:spPr/>
        <p:txBody>
          <a:bodyPr/>
          <a:lstStyle/>
          <a:p>
            <a:fld id="{7B448211-EADB-4DE2-8B6F-2964CA8AB177}" type="slidenum">
              <a:rPr lang="en-AU" smtClean="0"/>
              <a:pPr/>
              <a:t>12</a:t>
            </a:fld>
            <a:endParaRPr lang="en-AU"/>
          </a:p>
        </p:txBody>
      </p:sp>
    </p:spTree>
    <p:extLst>
      <p:ext uri="{BB962C8B-B14F-4D97-AF65-F5344CB8AC3E}">
        <p14:creationId xmlns:p14="http://schemas.microsoft.com/office/powerpoint/2010/main" val="33160226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_option 1">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48E1A3D-724C-F651-5736-5EDFFED1C3DD}"/>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143764"/>
            <a:ext cx="12204000" cy="6720843"/>
          </a:xfrm>
          <a:prstGeom prst="rect">
            <a:avLst/>
          </a:prstGeom>
        </p:spPr>
      </p:pic>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744122" y="853544"/>
            <a:ext cx="10842844" cy="589626"/>
          </a:xfrm>
        </p:spPr>
        <p:txBody>
          <a:bodyPr anchor="t" anchorCtr="0"/>
          <a:lstStyle>
            <a:lvl1pPr algn="l">
              <a:defRPr sz="3000">
                <a:solidFill>
                  <a:schemeClr val="tx1"/>
                </a:solidFill>
              </a:defRPr>
            </a:lvl1pPr>
          </a:lstStyle>
          <a:p>
            <a:r>
              <a:rPr lang="en-US"/>
              <a:t>Your text here</a:t>
            </a:r>
            <a:endParaRPr lang="en-AU"/>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744122" y="6147435"/>
            <a:ext cx="8620506" cy="37189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grpSp>
        <p:nvGrpSpPr>
          <p:cNvPr id="23" name="Graphic 12">
            <a:extLst>
              <a:ext uri="{FF2B5EF4-FFF2-40B4-BE49-F238E27FC236}">
                <a16:creationId xmlns:a16="http://schemas.microsoft.com/office/drawing/2014/main" id="{ADA115D4-609D-323E-7547-1BBCFD9C1F2D}"/>
              </a:ext>
            </a:extLst>
          </p:cNvPr>
          <p:cNvGrpSpPr/>
          <p:nvPr/>
        </p:nvGrpSpPr>
        <p:grpSpPr>
          <a:xfrm>
            <a:off x="544194" y="1803553"/>
            <a:ext cx="11044607" cy="3853290"/>
            <a:chOff x="544194" y="1803553"/>
            <a:chExt cx="11044607" cy="3853290"/>
          </a:xfrm>
        </p:grpSpPr>
        <p:sp>
          <p:nvSpPr>
            <p:cNvPr id="24" name="Freeform: Shape 23">
              <a:extLst>
                <a:ext uri="{FF2B5EF4-FFF2-40B4-BE49-F238E27FC236}">
                  <a16:creationId xmlns:a16="http://schemas.microsoft.com/office/drawing/2014/main" id="{46A64C78-C571-EA97-8316-028544665CA7}"/>
                </a:ext>
              </a:extLst>
            </p:cNvPr>
            <p:cNvSpPr/>
            <p:nvPr/>
          </p:nvSpPr>
          <p:spPr>
            <a:xfrm>
              <a:off x="544194" y="1803553"/>
              <a:ext cx="11044607" cy="3853290"/>
            </a:xfrm>
            <a:custGeom>
              <a:avLst/>
              <a:gdLst>
                <a:gd name="connsiteX0" fmla="*/ 9185820 w 11044607"/>
                <a:gd name="connsiteY0" fmla="*/ 796494 h 3853290"/>
                <a:gd name="connsiteX1" fmla="*/ 9894834 w 11044607"/>
                <a:gd name="connsiteY1" fmla="*/ 1510737 h 3853290"/>
                <a:gd name="connsiteX2" fmla="*/ 8420696 w 11044607"/>
                <a:gd name="connsiteY2" fmla="*/ 1510737 h 3853290"/>
                <a:gd name="connsiteX3" fmla="*/ 9185820 w 11044607"/>
                <a:gd name="connsiteY3" fmla="*/ 796494 h 3853290"/>
                <a:gd name="connsiteX4" fmla="*/ 9250218 w 11044607"/>
                <a:gd name="connsiteY4" fmla="*/ 3042514 h 3853290"/>
                <a:gd name="connsiteX5" fmla="*/ 8410240 w 11044607"/>
                <a:gd name="connsiteY5" fmla="*/ 2226255 h 3853290"/>
                <a:gd name="connsiteX6" fmla="*/ 8407434 w 11044607"/>
                <a:gd name="connsiteY6" fmla="*/ 2206872 h 3853290"/>
                <a:gd name="connsiteX7" fmla="*/ 11044560 w 11044607"/>
                <a:gd name="connsiteY7" fmla="*/ 2206872 h 3853290"/>
                <a:gd name="connsiteX8" fmla="*/ 10405682 w 11044607"/>
                <a:gd name="connsiteY8" fmla="*/ 453718 h 3853290"/>
                <a:gd name="connsiteX9" fmla="*/ 9164269 w 11044607"/>
                <a:gd name="connsiteY9" fmla="*/ 0 h 3853290"/>
                <a:gd name="connsiteX10" fmla="*/ 7323892 w 11044607"/>
                <a:gd name="connsiteY10" fmla="*/ 1579853 h 3853290"/>
                <a:gd name="connsiteX11" fmla="*/ 7323892 w 11044607"/>
                <a:gd name="connsiteY11" fmla="*/ 1371867 h 3853290"/>
                <a:gd name="connsiteX12" fmla="*/ 6076230 w 11044607"/>
                <a:gd name="connsiteY12" fmla="*/ 0 h 3853290"/>
                <a:gd name="connsiteX13" fmla="*/ 4945249 w 11044607"/>
                <a:gd name="connsiteY13" fmla="*/ 608528 h 3853290"/>
                <a:gd name="connsiteX14" fmla="*/ 4923826 w 11044607"/>
                <a:gd name="connsiteY14" fmla="*/ 608528 h 3853290"/>
                <a:gd name="connsiteX15" fmla="*/ 4923826 w 11044607"/>
                <a:gd name="connsiteY15" fmla="*/ 107372 h 3853290"/>
                <a:gd name="connsiteX16" fmla="*/ 3826384 w 11044607"/>
                <a:gd name="connsiteY16" fmla="*/ 107372 h 3853290"/>
                <a:gd name="connsiteX17" fmla="*/ 3826384 w 11044607"/>
                <a:gd name="connsiteY17" fmla="*/ 1616579 h 3853290"/>
                <a:gd name="connsiteX18" fmla="*/ 1925816 w 11044607"/>
                <a:gd name="connsiteY18" fmla="*/ 1658 h 3853290"/>
                <a:gd name="connsiteX19" fmla="*/ 0 w 11044607"/>
                <a:gd name="connsiteY19" fmla="*/ 1927474 h 3853290"/>
                <a:gd name="connsiteX20" fmla="*/ 1925816 w 11044607"/>
                <a:gd name="connsiteY20" fmla="*/ 3853290 h 3853290"/>
                <a:gd name="connsiteX21" fmla="*/ 3826256 w 11044607"/>
                <a:gd name="connsiteY21" fmla="*/ 2238369 h 3853290"/>
                <a:gd name="connsiteX22" fmla="*/ 3826256 w 11044607"/>
                <a:gd name="connsiteY22" fmla="*/ 3738777 h 3853290"/>
                <a:gd name="connsiteX23" fmla="*/ 4949585 w 11044607"/>
                <a:gd name="connsiteY23" fmla="*/ 3738777 h 3853290"/>
                <a:gd name="connsiteX24" fmla="*/ 4949585 w 11044607"/>
                <a:gd name="connsiteY24" fmla="*/ 1729817 h 3853290"/>
                <a:gd name="connsiteX25" fmla="*/ 5610907 w 11044607"/>
                <a:gd name="connsiteY25" fmla="*/ 939699 h 3853290"/>
                <a:gd name="connsiteX26" fmla="*/ 6200562 w 11044607"/>
                <a:gd name="connsiteY26" fmla="*/ 1608162 h 3853290"/>
                <a:gd name="connsiteX27" fmla="*/ 6200562 w 11044607"/>
                <a:gd name="connsiteY27" fmla="*/ 3738904 h 3853290"/>
                <a:gd name="connsiteX28" fmla="*/ 7323892 w 11044607"/>
                <a:gd name="connsiteY28" fmla="*/ 3738904 h 3853290"/>
                <a:gd name="connsiteX29" fmla="*/ 7323892 w 11044607"/>
                <a:gd name="connsiteY29" fmla="*/ 2264256 h 3853290"/>
                <a:gd name="connsiteX30" fmla="*/ 9235808 w 11044607"/>
                <a:gd name="connsiteY30" fmla="*/ 3846276 h 3853290"/>
                <a:gd name="connsiteX31" fmla="*/ 10371507 w 11044607"/>
                <a:gd name="connsiteY31" fmla="*/ 3512810 h 3853290"/>
                <a:gd name="connsiteX32" fmla="*/ 10975189 w 11044607"/>
                <a:gd name="connsiteY32" fmla="*/ 2677423 h 3853290"/>
                <a:gd name="connsiteX33" fmla="*/ 9869586 w 11044607"/>
                <a:gd name="connsiteY33" fmla="*/ 2677423 h 3853290"/>
                <a:gd name="connsiteX34" fmla="*/ 9250090 w 11044607"/>
                <a:gd name="connsiteY34" fmla="*/ 3042514 h 385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044607" h="3853290">
                  <a:moveTo>
                    <a:pt x="9185820" y="796494"/>
                  </a:moveTo>
                  <a:cubicBezTo>
                    <a:pt x="9569147" y="796494"/>
                    <a:pt x="9845612" y="1076401"/>
                    <a:pt x="9894834" y="1510737"/>
                  </a:cubicBezTo>
                  <a:lnTo>
                    <a:pt x="8420696" y="1510737"/>
                  </a:lnTo>
                  <a:cubicBezTo>
                    <a:pt x="8510726" y="1036998"/>
                    <a:pt x="8767935" y="796494"/>
                    <a:pt x="9185820" y="796494"/>
                  </a:cubicBezTo>
                  <a:moveTo>
                    <a:pt x="9250218" y="3042514"/>
                  </a:moveTo>
                  <a:cubicBezTo>
                    <a:pt x="8784768" y="3042514"/>
                    <a:pt x="8486369" y="2752532"/>
                    <a:pt x="8410240" y="2226255"/>
                  </a:cubicBezTo>
                  <a:lnTo>
                    <a:pt x="8407434" y="2206872"/>
                  </a:lnTo>
                  <a:lnTo>
                    <a:pt x="11044560" y="2206872"/>
                  </a:lnTo>
                  <a:cubicBezTo>
                    <a:pt x="11048386" y="1457816"/>
                    <a:pt x="10821782" y="835770"/>
                    <a:pt x="10405682" y="453718"/>
                  </a:cubicBezTo>
                  <a:cubicBezTo>
                    <a:pt x="10074511" y="152642"/>
                    <a:pt x="9656754" y="0"/>
                    <a:pt x="9164269" y="0"/>
                  </a:cubicBezTo>
                  <a:cubicBezTo>
                    <a:pt x="8195750" y="0"/>
                    <a:pt x="7465567" y="646912"/>
                    <a:pt x="7323892" y="1579853"/>
                  </a:cubicBezTo>
                  <a:lnTo>
                    <a:pt x="7323892" y="1371867"/>
                  </a:lnTo>
                  <a:cubicBezTo>
                    <a:pt x="7323892" y="538520"/>
                    <a:pt x="6839951" y="0"/>
                    <a:pt x="6076230" y="0"/>
                  </a:cubicBezTo>
                  <a:cubicBezTo>
                    <a:pt x="5567933" y="0"/>
                    <a:pt x="5217251" y="214745"/>
                    <a:pt x="4945249" y="608528"/>
                  </a:cubicBezTo>
                  <a:lnTo>
                    <a:pt x="4923826" y="608528"/>
                  </a:lnTo>
                  <a:lnTo>
                    <a:pt x="4923826" y="107372"/>
                  </a:lnTo>
                  <a:lnTo>
                    <a:pt x="3826384" y="107372"/>
                  </a:lnTo>
                  <a:lnTo>
                    <a:pt x="3826384" y="1616579"/>
                  </a:lnTo>
                  <a:cubicBezTo>
                    <a:pt x="3677184" y="702001"/>
                    <a:pt x="2881966" y="1658"/>
                    <a:pt x="1925816" y="1658"/>
                  </a:cubicBezTo>
                  <a:cubicBezTo>
                    <a:pt x="863952" y="1658"/>
                    <a:pt x="0" y="865482"/>
                    <a:pt x="0" y="1927474"/>
                  </a:cubicBezTo>
                  <a:cubicBezTo>
                    <a:pt x="0" y="2989465"/>
                    <a:pt x="863952" y="3853290"/>
                    <a:pt x="1925816" y="3853290"/>
                  </a:cubicBezTo>
                  <a:cubicBezTo>
                    <a:pt x="2881839" y="3853290"/>
                    <a:pt x="3677057" y="3152947"/>
                    <a:pt x="3826256" y="2238369"/>
                  </a:cubicBezTo>
                  <a:lnTo>
                    <a:pt x="3826256" y="3738777"/>
                  </a:lnTo>
                  <a:lnTo>
                    <a:pt x="4949585" y="3738777"/>
                  </a:lnTo>
                  <a:lnTo>
                    <a:pt x="4949585" y="1729817"/>
                  </a:lnTo>
                  <a:cubicBezTo>
                    <a:pt x="4949585" y="1264622"/>
                    <a:pt x="5221459" y="939699"/>
                    <a:pt x="5610907" y="939699"/>
                  </a:cubicBezTo>
                  <a:cubicBezTo>
                    <a:pt x="5980080" y="939699"/>
                    <a:pt x="6200562" y="1189640"/>
                    <a:pt x="6200562" y="1608162"/>
                  </a:cubicBezTo>
                  <a:lnTo>
                    <a:pt x="6200562" y="3738904"/>
                  </a:lnTo>
                  <a:lnTo>
                    <a:pt x="7323892" y="3738904"/>
                  </a:lnTo>
                  <a:lnTo>
                    <a:pt x="7323892" y="2264256"/>
                  </a:lnTo>
                  <a:cubicBezTo>
                    <a:pt x="7465439" y="3223721"/>
                    <a:pt x="8197918" y="3846276"/>
                    <a:pt x="9235808" y="3846276"/>
                  </a:cubicBezTo>
                  <a:cubicBezTo>
                    <a:pt x="9678432" y="3846276"/>
                    <a:pt x="10050027" y="3737246"/>
                    <a:pt x="10371507" y="3512810"/>
                  </a:cubicBezTo>
                  <a:cubicBezTo>
                    <a:pt x="10677173" y="3302273"/>
                    <a:pt x="10890770" y="3006426"/>
                    <a:pt x="10975189" y="2677423"/>
                  </a:cubicBezTo>
                  <a:lnTo>
                    <a:pt x="9869586" y="2677423"/>
                  </a:lnTo>
                  <a:cubicBezTo>
                    <a:pt x="9760682" y="2916396"/>
                    <a:pt x="9546703" y="3042514"/>
                    <a:pt x="9250090" y="3042514"/>
                  </a:cubicBezTo>
                </a:path>
              </a:pathLst>
            </a:custGeom>
            <a:solidFill>
              <a:schemeClr val="tx1"/>
            </a:solidFill>
            <a:ln w="12748"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091AAA91-7B7F-5679-8792-8EB4D9EBF117}"/>
                </a:ext>
              </a:extLst>
            </p:cNvPr>
            <p:cNvSpPr/>
            <p:nvPr/>
          </p:nvSpPr>
          <p:spPr>
            <a:xfrm>
              <a:off x="704232" y="3467314"/>
              <a:ext cx="448745" cy="511357"/>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rgbClr val="FFFFFF"/>
            </a:solidFill>
            <a:ln w="12748"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D9C1ADA3-9507-E508-C2D5-DA1C45D5EED7}"/>
                </a:ext>
              </a:extLst>
            </p:cNvPr>
            <p:cNvSpPr/>
            <p:nvPr/>
          </p:nvSpPr>
          <p:spPr>
            <a:xfrm>
              <a:off x="1164964" y="3467186"/>
              <a:ext cx="509572" cy="511357"/>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rgbClr val="FFFFFF"/>
            </a:solidFill>
            <a:ln w="12748"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D3239509-FA22-64D8-3826-2FFF311495E9}"/>
                </a:ext>
              </a:extLst>
            </p:cNvPr>
            <p:cNvSpPr/>
            <p:nvPr/>
          </p:nvSpPr>
          <p:spPr>
            <a:xfrm>
              <a:off x="1657193" y="3288479"/>
              <a:ext cx="1320093" cy="68011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rgbClr val="FFFFFF"/>
            </a:solidFill>
            <a:ln w="12748"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3DC2373E-C062-FC24-FD95-315637DA0E82}"/>
                </a:ext>
              </a:extLst>
            </p:cNvPr>
            <p:cNvSpPr/>
            <p:nvPr/>
          </p:nvSpPr>
          <p:spPr>
            <a:xfrm>
              <a:off x="2945534" y="3467059"/>
              <a:ext cx="473101" cy="508679"/>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rgbClr val="FFFFFF"/>
            </a:solidFill>
            <a:ln w="12748"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4FA4D581-F9F6-B448-8466-FDF92D2AC4C2}"/>
                </a:ext>
              </a:extLst>
            </p:cNvPr>
            <p:cNvSpPr/>
            <p:nvPr/>
          </p:nvSpPr>
          <p:spPr>
            <a:xfrm>
              <a:off x="3454341" y="3472670"/>
              <a:ext cx="303753" cy="490571"/>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rgbClr val="FFFFFF"/>
            </a:solidFill>
            <a:ln w="12748"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E798594-F48F-29AE-7053-C829F8B3D10B}"/>
                </a:ext>
              </a:extLst>
            </p:cNvPr>
            <p:cNvSpPr/>
            <p:nvPr/>
          </p:nvSpPr>
          <p:spPr>
            <a:xfrm>
              <a:off x="3753887" y="3467186"/>
              <a:ext cx="491487" cy="510464"/>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rgbClr val="FFFFFF"/>
            </a:solidFill>
            <a:ln w="12748" cap="flat">
              <a:noFill/>
              <a:prstDash val="solid"/>
              <a:miter/>
            </a:ln>
          </p:spPr>
          <p:txBody>
            <a:bodyPr rtlCol="0" anchor="ctr"/>
            <a:lstStyle/>
            <a:p>
              <a:endParaRPr lang="en-AU"/>
            </a:p>
          </p:txBody>
        </p:sp>
      </p:grpSp>
      <p:sp>
        <p:nvSpPr>
          <p:cNvPr id="7" name="Rectangle 6">
            <a:extLst>
              <a:ext uri="{FF2B5EF4-FFF2-40B4-BE49-F238E27FC236}">
                <a16:creationId xmlns:a16="http://schemas.microsoft.com/office/drawing/2014/main" id="{7159C2EE-9035-3D22-C580-198AB83783D4}"/>
              </a:ext>
            </a:extLst>
          </p:cNvPr>
          <p:cNvSpPr/>
          <p:nvPr userDrawn="1"/>
        </p:nvSpPr>
        <p:spPr>
          <a:xfrm>
            <a:off x="0" y="0"/>
            <a:ext cx="12192000" cy="136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057444829"/>
      </p:ext>
    </p:extLst>
  </p:cSld>
  <p:clrMapOvr>
    <a:masterClrMapping/>
  </p:clrMapOvr>
  <p:extLst>
    <p:ext uri="{DCECCB84-F9BA-43D5-87BE-67443E8EF086}">
      <p15:sldGuideLst xmlns:p15="http://schemas.microsoft.com/office/powerpoint/2012/main">
        <p15:guide id="1" orient="horz" pos="356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3_Welcom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A1F3392-507F-13C1-4B2B-5222E41FF779}"/>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22" name="Text Placeholder 21">
            <a:extLst>
              <a:ext uri="{FF2B5EF4-FFF2-40B4-BE49-F238E27FC236}">
                <a16:creationId xmlns:a16="http://schemas.microsoft.com/office/drawing/2014/main" id="{929DFB1A-CC06-8030-A00E-16F0F23E069B}"/>
              </a:ext>
            </a:extLst>
          </p:cNvPr>
          <p:cNvSpPr>
            <a:spLocks noGrp="1"/>
          </p:cNvSpPr>
          <p:nvPr>
            <p:ph type="body" sz="quarter" idx="39" hasCustomPrompt="1"/>
          </p:nvPr>
        </p:nvSpPr>
        <p:spPr>
          <a:xfrm>
            <a:off x="479427" y="2439671"/>
            <a:ext cx="11223582" cy="2028726"/>
          </a:xfrm>
          <a:custGeom>
            <a:avLst/>
            <a:gdLst>
              <a:gd name="connsiteX0" fmla="*/ 10496360 w 11223582"/>
              <a:gd name="connsiteY0" fmla="*/ 844154 h 2028726"/>
              <a:gd name="connsiteX1" fmla="*/ 10204908 w 11223582"/>
              <a:gd name="connsiteY1" fmla="*/ 1121531 h 2028726"/>
              <a:gd name="connsiteX2" fmla="*/ 10765527 w 11223582"/>
              <a:gd name="connsiteY2" fmla="*/ 1121531 h 2028726"/>
              <a:gd name="connsiteX3" fmla="*/ 10496360 w 11223582"/>
              <a:gd name="connsiteY3" fmla="*/ 844154 h 2028726"/>
              <a:gd name="connsiteX4" fmla="*/ 3108035 w 11223582"/>
              <a:gd name="connsiteY4" fmla="*/ 844154 h 2028726"/>
              <a:gd name="connsiteX5" fmla="*/ 2816583 w 11223582"/>
              <a:gd name="connsiteY5" fmla="*/ 1121531 h 2028726"/>
              <a:gd name="connsiteX6" fmla="*/ 3377202 w 11223582"/>
              <a:gd name="connsiteY6" fmla="*/ 1121531 h 2028726"/>
              <a:gd name="connsiteX7" fmla="*/ 3108035 w 11223582"/>
              <a:gd name="connsiteY7" fmla="*/ 844154 h 2028726"/>
              <a:gd name="connsiteX8" fmla="*/ 5181913 w 11223582"/>
              <a:gd name="connsiteY8" fmla="*/ 524554 h 2028726"/>
              <a:gd name="connsiteX9" fmla="*/ 5856298 w 11223582"/>
              <a:gd name="connsiteY9" fmla="*/ 1068460 h 2028726"/>
              <a:gd name="connsiteX10" fmla="*/ 5420586 w 11223582"/>
              <a:gd name="connsiteY10" fmla="*/ 1068460 h 2028726"/>
              <a:gd name="connsiteX11" fmla="*/ 5187484 w 11223582"/>
              <a:gd name="connsiteY11" fmla="*/ 857642 h 2028726"/>
              <a:gd name="connsiteX12" fmla="*/ 4896032 w 11223582"/>
              <a:gd name="connsiteY12" fmla="*/ 1276640 h 2028726"/>
              <a:gd name="connsiteX13" fmla="*/ 5187484 w 11223582"/>
              <a:gd name="connsiteY13" fmla="*/ 1690067 h 2028726"/>
              <a:gd name="connsiteX14" fmla="*/ 5434367 w 11223582"/>
              <a:gd name="connsiteY14" fmla="*/ 1445823 h 2028726"/>
              <a:gd name="connsiteX15" fmla="*/ 5867440 w 11223582"/>
              <a:gd name="connsiteY15" fmla="*/ 1445823 h 2028726"/>
              <a:gd name="connsiteX16" fmla="*/ 5193055 w 11223582"/>
              <a:gd name="connsiteY16" fmla="*/ 2028726 h 2028726"/>
              <a:gd name="connsiteX17" fmla="*/ 4438330 w 11223582"/>
              <a:gd name="connsiteY17" fmla="*/ 1276640 h 2028726"/>
              <a:gd name="connsiteX18" fmla="*/ 5181913 w 11223582"/>
              <a:gd name="connsiteY18" fmla="*/ 524554 h 2028726"/>
              <a:gd name="connsiteX19" fmla="*/ 10488150 w 11223582"/>
              <a:gd name="connsiteY19" fmla="*/ 521915 h 2028726"/>
              <a:gd name="connsiteX20" fmla="*/ 10973707 w 11223582"/>
              <a:gd name="connsiteY20" fmla="*/ 699601 h 2028726"/>
              <a:gd name="connsiteX21" fmla="*/ 11223522 w 11223582"/>
              <a:gd name="connsiteY21" fmla="*/ 1390699 h 2028726"/>
              <a:gd name="connsiteX22" fmla="*/ 10202269 w 11223582"/>
              <a:gd name="connsiteY22" fmla="*/ 1390699 h 2028726"/>
              <a:gd name="connsiteX23" fmla="*/ 10521282 w 11223582"/>
              <a:gd name="connsiteY23" fmla="*/ 1701502 h 2028726"/>
              <a:gd name="connsiteX24" fmla="*/ 10757023 w 11223582"/>
              <a:gd name="connsiteY24" fmla="*/ 1559882 h 2028726"/>
              <a:gd name="connsiteX25" fmla="*/ 11198306 w 11223582"/>
              <a:gd name="connsiteY25" fmla="*/ 1559882 h 2028726"/>
              <a:gd name="connsiteX26" fmla="*/ 10959632 w 11223582"/>
              <a:gd name="connsiteY26" fmla="*/ 1895608 h 2028726"/>
              <a:gd name="connsiteX27" fmla="*/ 10515712 w 11223582"/>
              <a:gd name="connsiteY27" fmla="*/ 2026087 h 2028726"/>
              <a:gd name="connsiteX28" fmla="*/ 9758054 w 11223582"/>
              <a:gd name="connsiteY28" fmla="*/ 1271362 h 2028726"/>
              <a:gd name="connsiteX29" fmla="*/ 9758347 w 11223582"/>
              <a:gd name="connsiteY29" fmla="*/ 1271069 h 2028726"/>
              <a:gd name="connsiteX30" fmla="*/ 10488150 w 11223582"/>
              <a:gd name="connsiteY30" fmla="*/ 521915 h 2028726"/>
              <a:gd name="connsiteX31" fmla="*/ 3100118 w 11223582"/>
              <a:gd name="connsiteY31" fmla="*/ 521915 h 2028726"/>
              <a:gd name="connsiteX32" fmla="*/ 3585675 w 11223582"/>
              <a:gd name="connsiteY32" fmla="*/ 699601 h 2028726"/>
              <a:gd name="connsiteX33" fmla="*/ 3835490 w 11223582"/>
              <a:gd name="connsiteY33" fmla="*/ 1390699 h 2028726"/>
              <a:gd name="connsiteX34" fmla="*/ 2814237 w 11223582"/>
              <a:gd name="connsiteY34" fmla="*/ 1390699 h 2028726"/>
              <a:gd name="connsiteX35" fmla="*/ 3133250 w 11223582"/>
              <a:gd name="connsiteY35" fmla="*/ 1701502 h 2028726"/>
              <a:gd name="connsiteX36" fmla="*/ 3368992 w 11223582"/>
              <a:gd name="connsiteY36" fmla="*/ 1559882 h 2028726"/>
              <a:gd name="connsiteX37" fmla="*/ 3810273 w 11223582"/>
              <a:gd name="connsiteY37" fmla="*/ 1559882 h 2028726"/>
              <a:gd name="connsiteX38" fmla="*/ 3571600 w 11223582"/>
              <a:gd name="connsiteY38" fmla="*/ 1895608 h 2028726"/>
              <a:gd name="connsiteX39" fmla="*/ 3127680 w 11223582"/>
              <a:gd name="connsiteY39" fmla="*/ 2026087 h 2028726"/>
              <a:gd name="connsiteX40" fmla="*/ 2370023 w 11223582"/>
              <a:gd name="connsiteY40" fmla="*/ 1271362 h 2028726"/>
              <a:gd name="connsiteX41" fmla="*/ 2370316 w 11223582"/>
              <a:gd name="connsiteY41" fmla="*/ 1271069 h 2028726"/>
              <a:gd name="connsiteX42" fmla="*/ 3100118 w 11223582"/>
              <a:gd name="connsiteY42" fmla="*/ 521915 h 2028726"/>
              <a:gd name="connsiteX43" fmla="*/ 8360905 w 11223582"/>
              <a:gd name="connsiteY43" fmla="*/ 521622 h 2028726"/>
              <a:gd name="connsiteX44" fmla="*/ 8760551 w 11223582"/>
              <a:gd name="connsiteY44" fmla="*/ 771438 h 2028726"/>
              <a:gd name="connsiteX45" fmla="*/ 8766122 w 11223582"/>
              <a:gd name="connsiteY45" fmla="*/ 771438 h 2028726"/>
              <a:gd name="connsiteX46" fmla="*/ 9212975 w 11223582"/>
              <a:gd name="connsiteY46" fmla="*/ 521622 h 2028726"/>
              <a:gd name="connsiteX47" fmla="*/ 9695894 w 11223582"/>
              <a:gd name="connsiteY47" fmla="*/ 1059957 h 2028726"/>
              <a:gd name="connsiteX48" fmla="*/ 9695894 w 11223582"/>
              <a:gd name="connsiteY48" fmla="*/ 1983865 h 2028726"/>
              <a:gd name="connsiteX49" fmla="*/ 9243469 w 11223582"/>
              <a:gd name="connsiteY49" fmla="*/ 1983865 h 2028726"/>
              <a:gd name="connsiteX50" fmla="*/ 9243469 w 11223582"/>
              <a:gd name="connsiteY50" fmla="*/ 1140297 h 2028726"/>
              <a:gd name="connsiteX51" fmla="*/ 9043793 w 11223582"/>
              <a:gd name="connsiteY51" fmla="*/ 898984 h 2028726"/>
              <a:gd name="connsiteX52" fmla="*/ 8818900 w 11223582"/>
              <a:gd name="connsiteY52" fmla="*/ 1187504 h 2028726"/>
              <a:gd name="connsiteX53" fmla="*/ 8818900 w 11223582"/>
              <a:gd name="connsiteY53" fmla="*/ 1983865 h 2028726"/>
              <a:gd name="connsiteX54" fmla="*/ 8366476 w 11223582"/>
              <a:gd name="connsiteY54" fmla="*/ 1983865 h 2028726"/>
              <a:gd name="connsiteX55" fmla="*/ 8366476 w 11223582"/>
              <a:gd name="connsiteY55" fmla="*/ 1140297 h 2028726"/>
              <a:gd name="connsiteX56" fmla="*/ 8166506 w 11223582"/>
              <a:gd name="connsiteY56" fmla="*/ 898984 h 2028726"/>
              <a:gd name="connsiteX57" fmla="*/ 7941614 w 11223582"/>
              <a:gd name="connsiteY57" fmla="*/ 1187504 h 2028726"/>
              <a:gd name="connsiteX58" fmla="*/ 7941614 w 11223582"/>
              <a:gd name="connsiteY58" fmla="*/ 1983865 h 2028726"/>
              <a:gd name="connsiteX59" fmla="*/ 7489189 w 11223582"/>
              <a:gd name="connsiteY59" fmla="*/ 1983865 h 2028726"/>
              <a:gd name="connsiteX60" fmla="*/ 7489189 w 11223582"/>
              <a:gd name="connsiteY60" fmla="*/ 563258 h 2028726"/>
              <a:gd name="connsiteX61" fmla="*/ 7489776 w 11223582"/>
              <a:gd name="connsiteY61" fmla="*/ 563258 h 2028726"/>
              <a:gd name="connsiteX62" fmla="*/ 7922555 w 11223582"/>
              <a:gd name="connsiteY62" fmla="*/ 563258 h 2028726"/>
              <a:gd name="connsiteX63" fmla="*/ 7922555 w 11223582"/>
              <a:gd name="connsiteY63" fmla="*/ 765867 h 2028726"/>
              <a:gd name="connsiteX64" fmla="*/ 7930765 w 11223582"/>
              <a:gd name="connsiteY64" fmla="*/ 765867 h 2028726"/>
              <a:gd name="connsiteX65" fmla="*/ 8360905 w 11223582"/>
              <a:gd name="connsiteY65" fmla="*/ 521622 h 2028726"/>
              <a:gd name="connsiteX66" fmla="*/ 6678754 w 11223582"/>
              <a:gd name="connsiteY66" fmla="*/ 515757 h 2028726"/>
              <a:gd name="connsiteX67" fmla="*/ 7424389 w 11223582"/>
              <a:gd name="connsiteY67" fmla="*/ 1261392 h 2028726"/>
              <a:gd name="connsiteX68" fmla="*/ 6678754 w 11223582"/>
              <a:gd name="connsiteY68" fmla="*/ 2007027 h 2028726"/>
              <a:gd name="connsiteX69" fmla="*/ 5933119 w 11223582"/>
              <a:gd name="connsiteY69" fmla="*/ 1261392 h 2028726"/>
              <a:gd name="connsiteX70" fmla="*/ 6678754 w 11223582"/>
              <a:gd name="connsiteY70" fmla="*/ 515757 h 2028726"/>
              <a:gd name="connsiteX71" fmla="*/ 3907912 w 11223582"/>
              <a:gd name="connsiteY71" fmla="*/ 0 h 2028726"/>
              <a:gd name="connsiteX72" fmla="*/ 4365907 w 11223582"/>
              <a:gd name="connsiteY72" fmla="*/ 0 h 2028726"/>
              <a:gd name="connsiteX73" fmla="*/ 4365907 w 11223582"/>
              <a:gd name="connsiteY73" fmla="*/ 1984158 h 2028726"/>
              <a:gd name="connsiteX74" fmla="*/ 3907912 w 11223582"/>
              <a:gd name="connsiteY74" fmla="*/ 1984158 h 2028726"/>
              <a:gd name="connsiteX75" fmla="*/ 0 w 11223582"/>
              <a:gd name="connsiteY75" fmla="*/ 0 h 2028726"/>
              <a:gd name="connsiteX76" fmla="*/ 496699 w 11223582"/>
              <a:gd name="connsiteY76" fmla="*/ 0 h 2028726"/>
              <a:gd name="connsiteX77" fmla="*/ 696375 w 11223582"/>
              <a:gd name="connsiteY77" fmla="*/ 832426 h 2028726"/>
              <a:gd name="connsiteX78" fmla="*/ 787858 w 11223582"/>
              <a:gd name="connsiteY78" fmla="*/ 1323554 h 2028726"/>
              <a:gd name="connsiteX79" fmla="*/ 793428 w 11223582"/>
              <a:gd name="connsiteY79" fmla="*/ 1323554 h 2028726"/>
              <a:gd name="connsiteX80" fmla="*/ 890481 w 11223582"/>
              <a:gd name="connsiteY80" fmla="*/ 851778 h 2028726"/>
              <a:gd name="connsiteX81" fmla="*/ 1076670 w 11223582"/>
              <a:gd name="connsiteY81" fmla="*/ 0 h 2028726"/>
              <a:gd name="connsiteX82" fmla="*/ 1531733 w 11223582"/>
              <a:gd name="connsiteY82" fmla="*/ 0 h 2028726"/>
              <a:gd name="connsiteX83" fmla="*/ 1717629 w 11223582"/>
              <a:gd name="connsiteY83" fmla="*/ 846500 h 2028726"/>
              <a:gd name="connsiteX84" fmla="*/ 1812042 w 11223582"/>
              <a:gd name="connsiteY84" fmla="*/ 1323847 h 2028726"/>
              <a:gd name="connsiteX85" fmla="*/ 1817614 w 11223582"/>
              <a:gd name="connsiteY85" fmla="*/ 1323847 h 2028726"/>
              <a:gd name="connsiteX86" fmla="*/ 1917598 w 11223582"/>
              <a:gd name="connsiteY86" fmla="*/ 827148 h 2028726"/>
              <a:gd name="connsiteX87" fmla="*/ 2114637 w 11223582"/>
              <a:gd name="connsiteY87" fmla="*/ 0 h 2028726"/>
              <a:gd name="connsiteX88" fmla="*/ 2608697 w 11223582"/>
              <a:gd name="connsiteY88" fmla="*/ 0 h 2028726"/>
              <a:gd name="connsiteX89" fmla="*/ 2064791 w 11223582"/>
              <a:gd name="connsiteY89" fmla="*/ 1984158 h 2028726"/>
              <a:gd name="connsiteX90" fmla="*/ 1584804 w 11223582"/>
              <a:gd name="connsiteY90" fmla="*/ 1984158 h 2028726"/>
              <a:gd name="connsiteX91" fmla="*/ 1376625 w 11223582"/>
              <a:gd name="connsiteY91" fmla="*/ 1032395 h 2028726"/>
              <a:gd name="connsiteX92" fmla="*/ 1307134 w 11223582"/>
              <a:gd name="connsiteY92" fmla="*/ 663243 h 2028726"/>
              <a:gd name="connsiteX93" fmla="*/ 1301563 w 11223582"/>
              <a:gd name="connsiteY93" fmla="*/ 663243 h 2028726"/>
              <a:gd name="connsiteX94" fmla="*/ 1235004 w 11223582"/>
              <a:gd name="connsiteY94" fmla="*/ 1032395 h 2028726"/>
              <a:gd name="connsiteX95" fmla="*/ 1026824 w 11223582"/>
              <a:gd name="connsiteY95" fmla="*/ 1984158 h 2028726"/>
              <a:gd name="connsiteX96" fmla="*/ 543906 w 11223582"/>
              <a:gd name="connsiteY96" fmla="*/ 1984158 h 202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223582" h="2028726">
                <a:moveTo>
                  <a:pt x="10496360" y="844154"/>
                </a:moveTo>
                <a:cubicBezTo>
                  <a:pt x="10324244" y="844154"/>
                  <a:pt x="10235401" y="952349"/>
                  <a:pt x="10204908" y="1121531"/>
                </a:cubicBezTo>
                <a:lnTo>
                  <a:pt x="10765527" y="1121531"/>
                </a:lnTo>
                <a:cubicBezTo>
                  <a:pt x="10748814" y="952349"/>
                  <a:pt x="10643551" y="844154"/>
                  <a:pt x="10496360" y="844154"/>
                </a:cubicBezTo>
                <a:close/>
                <a:moveTo>
                  <a:pt x="3108035" y="844154"/>
                </a:moveTo>
                <a:cubicBezTo>
                  <a:pt x="2935920" y="844154"/>
                  <a:pt x="2847077" y="952349"/>
                  <a:pt x="2816583" y="1121531"/>
                </a:cubicBezTo>
                <a:lnTo>
                  <a:pt x="3377202" y="1121531"/>
                </a:lnTo>
                <a:cubicBezTo>
                  <a:pt x="3360488" y="952349"/>
                  <a:pt x="3255226" y="844154"/>
                  <a:pt x="3108035" y="844154"/>
                </a:cubicBezTo>
                <a:close/>
                <a:moveTo>
                  <a:pt x="5181913" y="524554"/>
                </a:moveTo>
                <a:cubicBezTo>
                  <a:pt x="5567778" y="524554"/>
                  <a:pt x="5814662" y="749447"/>
                  <a:pt x="5856298" y="1068460"/>
                </a:cubicBezTo>
                <a:lnTo>
                  <a:pt x="5420586" y="1068460"/>
                </a:lnTo>
                <a:cubicBezTo>
                  <a:pt x="5392731" y="940913"/>
                  <a:pt x="5315031" y="857642"/>
                  <a:pt x="5187484" y="857642"/>
                </a:cubicBezTo>
                <a:cubicBezTo>
                  <a:pt x="4993378" y="857642"/>
                  <a:pt x="4896032" y="1018614"/>
                  <a:pt x="4896032" y="1276640"/>
                </a:cubicBezTo>
                <a:cubicBezTo>
                  <a:pt x="4896032" y="1534665"/>
                  <a:pt x="4993085" y="1690067"/>
                  <a:pt x="5187484" y="1690067"/>
                </a:cubicBezTo>
                <a:cubicBezTo>
                  <a:pt x="5329105" y="1690067"/>
                  <a:pt x="5415015" y="1606795"/>
                  <a:pt x="5434367" y="1445823"/>
                </a:cubicBezTo>
                <a:lnTo>
                  <a:pt x="5867440" y="1445823"/>
                </a:lnTo>
                <a:cubicBezTo>
                  <a:pt x="5856298" y="1773339"/>
                  <a:pt x="5595340" y="2028726"/>
                  <a:pt x="5193055" y="2028726"/>
                </a:cubicBezTo>
                <a:cubicBezTo>
                  <a:pt x="4735060" y="2028726"/>
                  <a:pt x="4438330" y="1704141"/>
                  <a:pt x="4438330" y="1276640"/>
                </a:cubicBezTo>
                <a:cubicBezTo>
                  <a:pt x="4438330" y="849432"/>
                  <a:pt x="4732420" y="524554"/>
                  <a:pt x="5181913" y="524554"/>
                </a:cubicBezTo>
                <a:close/>
                <a:moveTo>
                  <a:pt x="10488150" y="521915"/>
                </a:moveTo>
                <a:cubicBezTo>
                  <a:pt x="10690758" y="521915"/>
                  <a:pt x="10851731" y="588474"/>
                  <a:pt x="10973707" y="699601"/>
                </a:cubicBezTo>
                <a:cubicBezTo>
                  <a:pt x="11142889" y="855003"/>
                  <a:pt x="11226161" y="1101886"/>
                  <a:pt x="11223522" y="1390699"/>
                </a:cubicBezTo>
                <a:lnTo>
                  <a:pt x="10202269" y="1390699"/>
                </a:lnTo>
                <a:cubicBezTo>
                  <a:pt x="10230124" y="1582166"/>
                  <a:pt x="10335386" y="1701502"/>
                  <a:pt x="10521282" y="1701502"/>
                </a:cubicBezTo>
                <a:cubicBezTo>
                  <a:pt x="10640619" y="1701502"/>
                  <a:pt x="10718319" y="1648724"/>
                  <a:pt x="10757023" y="1559882"/>
                </a:cubicBezTo>
                <a:lnTo>
                  <a:pt x="11198306" y="1559882"/>
                </a:lnTo>
                <a:cubicBezTo>
                  <a:pt x="11167812" y="1687428"/>
                  <a:pt x="11084540" y="1809697"/>
                  <a:pt x="10959632" y="1895608"/>
                </a:cubicBezTo>
                <a:cubicBezTo>
                  <a:pt x="10840295" y="1978880"/>
                  <a:pt x="10696036" y="2026087"/>
                  <a:pt x="10515712" y="2026087"/>
                </a:cubicBezTo>
                <a:cubicBezTo>
                  <a:pt x="10046867" y="2026087"/>
                  <a:pt x="9758054" y="1701502"/>
                  <a:pt x="9758054" y="1271362"/>
                </a:cubicBezTo>
                <a:lnTo>
                  <a:pt x="9758347" y="1271069"/>
                </a:lnTo>
                <a:cubicBezTo>
                  <a:pt x="9758347" y="846499"/>
                  <a:pt x="10055370" y="521915"/>
                  <a:pt x="10488150" y="521915"/>
                </a:cubicBezTo>
                <a:close/>
                <a:moveTo>
                  <a:pt x="3100118" y="521915"/>
                </a:moveTo>
                <a:cubicBezTo>
                  <a:pt x="3302727" y="521915"/>
                  <a:pt x="3463699" y="588474"/>
                  <a:pt x="3585675" y="699601"/>
                </a:cubicBezTo>
                <a:cubicBezTo>
                  <a:pt x="3754857" y="855003"/>
                  <a:pt x="3838128" y="1101886"/>
                  <a:pt x="3835490" y="1390699"/>
                </a:cubicBezTo>
                <a:lnTo>
                  <a:pt x="2814237" y="1390699"/>
                </a:lnTo>
                <a:cubicBezTo>
                  <a:pt x="2842091" y="1582166"/>
                  <a:pt x="2947354" y="1701502"/>
                  <a:pt x="3133250" y="1701502"/>
                </a:cubicBezTo>
                <a:cubicBezTo>
                  <a:pt x="3252588" y="1701502"/>
                  <a:pt x="3330288" y="1648724"/>
                  <a:pt x="3368992" y="1559882"/>
                </a:cubicBezTo>
                <a:lnTo>
                  <a:pt x="3810273" y="1559882"/>
                </a:lnTo>
                <a:cubicBezTo>
                  <a:pt x="3779780" y="1687428"/>
                  <a:pt x="3696509" y="1809697"/>
                  <a:pt x="3571600" y="1895608"/>
                </a:cubicBezTo>
                <a:cubicBezTo>
                  <a:pt x="3452264" y="1978880"/>
                  <a:pt x="3308004" y="2026087"/>
                  <a:pt x="3127680" y="2026087"/>
                </a:cubicBezTo>
                <a:cubicBezTo>
                  <a:pt x="2658836" y="2026087"/>
                  <a:pt x="2370023" y="1701502"/>
                  <a:pt x="2370023" y="1271362"/>
                </a:cubicBezTo>
                <a:lnTo>
                  <a:pt x="2370316" y="1271069"/>
                </a:lnTo>
                <a:cubicBezTo>
                  <a:pt x="2370316" y="846499"/>
                  <a:pt x="2667044" y="521915"/>
                  <a:pt x="3100118" y="521915"/>
                </a:cubicBezTo>
                <a:close/>
                <a:moveTo>
                  <a:pt x="8360905" y="521622"/>
                </a:moveTo>
                <a:cubicBezTo>
                  <a:pt x="8546800" y="521622"/>
                  <a:pt x="8688422" y="618675"/>
                  <a:pt x="8760551" y="771438"/>
                </a:cubicBezTo>
                <a:lnTo>
                  <a:pt x="8766122" y="771438"/>
                </a:lnTo>
                <a:cubicBezTo>
                  <a:pt x="8877249" y="599323"/>
                  <a:pt x="9029718" y="521622"/>
                  <a:pt x="9212975" y="521622"/>
                </a:cubicBezTo>
                <a:cubicBezTo>
                  <a:pt x="9534921" y="521622"/>
                  <a:pt x="9695894" y="740944"/>
                  <a:pt x="9695894" y="1059957"/>
                </a:cubicBezTo>
                <a:lnTo>
                  <a:pt x="9695894" y="1983865"/>
                </a:lnTo>
                <a:lnTo>
                  <a:pt x="9243469" y="1983865"/>
                </a:lnTo>
                <a:lnTo>
                  <a:pt x="9243469" y="1140297"/>
                </a:lnTo>
                <a:cubicBezTo>
                  <a:pt x="9243469" y="987827"/>
                  <a:pt x="9179550" y="898984"/>
                  <a:pt x="9043793" y="898984"/>
                </a:cubicBezTo>
                <a:cubicBezTo>
                  <a:pt x="8899533" y="898984"/>
                  <a:pt x="8818900" y="1018321"/>
                  <a:pt x="8818900" y="1187504"/>
                </a:cubicBezTo>
                <a:lnTo>
                  <a:pt x="8818900" y="1983865"/>
                </a:lnTo>
                <a:lnTo>
                  <a:pt x="8366476" y="1983865"/>
                </a:lnTo>
                <a:lnTo>
                  <a:pt x="8366476" y="1140297"/>
                </a:lnTo>
                <a:cubicBezTo>
                  <a:pt x="8366476" y="987827"/>
                  <a:pt x="8302556" y="898984"/>
                  <a:pt x="8166506" y="898984"/>
                </a:cubicBezTo>
                <a:cubicBezTo>
                  <a:pt x="8030456" y="898984"/>
                  <a:pt x="7941614" y="1018321"/>
                  <a:pt x="7941614" y="1187504"/>
                </a:cubicBezTo>
                <a:lnTo>
                  <a:pt x="7941614" y="1983865"/>
                </a:lnTo>
                <a:lnTo>
                  <a:pt x="7489189" y="1983865"/>
                </a:lnTo>
                <a:lnTo>
                  <a:pt x="7489189" y="563258"/>
                </a:lnTo>
                <a:lnTo>
                  <a:pt x="7489776" y="563258"/>
                </a:lnTo>
                <a:lnTo>
                  <a:pt x="7922555" y="563258"/>
                </a:lnTo>
                <a:lnTo>
                  <a:pt x="7922555" y="765867"/>
                </a:lnTo>
                <a:lnTo>
                  <a:pt x="7930765" y="765867"/>
                </a:lnTo>
                <a:cubicBezTo>
                  <a:pt x="8019608" y="618675"/>
                  <a:pt x="8155657" y="521622"/>
                  <a:pt x="8360905" y="521622"/>
                </a:cubicBezTo>
                <a:close/>
                <a:moveTo>
                  <a:pt x="6678754" y="515757"/>
                </a:moveTo>
                <a:cubicBezTo>
                  <a:pt x="7090422" y="515757"/>
                  <a:pt x="7424389" y="849724"/>
                  <a:pt x="7424389" y="1261392"/>
                </a:cubicBezTo>
                <a:cubicBezTo>
                  <a:pt x="7424389" y="1673060"/>
                  <a:pt x="7090422" y="2007027"/>
                  <a:pt x="6678754" y="2007027"/>
                </a:cubicBezTo>
                <a:cubicBezTo>
                  <a:pt x="6267086" y="2007027"/>
                  <a:pt x="5933119" y="1673060"/>
                  <a:pt x="5933119" y="1261392"/>
                </a:cubicBezTo>
                <a:cubicBezTo>
                  <a:pt x="5933119" y="849724"/>
                  <a:pt x="6267086" y="515757"/>
                  <a:pt x="6678754" y="515757"/>
                </a:cubicBezTo>
                <a:close/>
                <a:moveTo>
                  <a:pt x="3907912" y="0"/>
                </a:moveTo>
                <a:lnTo>
                  <a:pt x="4365907" y="0"/>
                </a:lnTo>
                <a:lnTo>
                  <a:pt x="4365907" y="1984158"/>
                </a:lnTo>
                <a:lnTo>
                  <a:pt x="3907912" y="1984158"/>
                </a:lnTo>
                <a:close/>
                <a:moveTo>
                  <a:pt x="0" y="0"/>
                </a:moveTo>
                <a:lnTo>
                  <a:pt x="496699" y="0"/>
                </a:lnTo>
                <a:lnTo>
                  <a:pt x="696375" y="832426"/>
                </a:lnTo>
                <a:cubicBezTo>
                  <a:pt x="740651" y="1023892"/>
                  <a:pt x="787858" y="1323554"/>
                  <a:pt x="787858" y="1323554"/>
                </a:cubicBezTo>
                <a:lnTo>
                  <a:pt x="793428" y="1323554"/>
                </a:lnTo>
                <a:cubicBezTo>
                  <a:pt x="793428" y="1323554"/>
                  <a:pt x="846206" y="1051747"/>
                  <a:pt x="890481" y="851778"/>
                </a:cubicBezTo>
                <a:lnTo>
                  <a:pt x="1076670" y="0"/>
                </a:lnTo>
                <a:lnTo>
                  <a:pt x="1531733" y="0"/>
                </a:lnTo>
                <a:lnTo>
                  <a:pt x="1717629" y="846500"/>
                </a:lnTo>
                <a:cubicBezTo>
                  <a:pt x="1761904" y="1049109"/>
                  <a:pt x="1812042" y="1323847"/>
                  <a:pt x="1812042" y="1323847"/>
                </a:cubicBezTo>
                <a:lnTo>
                  <a:pt x="1817614" y="1323847"/>
                </a:lnTo>
                <a:cubicBezTo>
                  <a:pt x="1817614" y="1323847"/>
                  <a:pt x="1873031" y="1024186"/>
                  <a:pt x="1917598" y="827148"/>
                </a:cubicBezTo>
                <a:lnTo>
                  <a:pt x="2114637" y="0"/>
                </a:lnTo>
                <a:lnTo>
                  <a:pt x="2608697" y="0"/>
                </a:lnTo>
                <a:lnTo>
                  <a:pt x="2064791" y="1984158"/>
                </a:lnTo>
                <a:lnTo>
                  <a:pt x="1584804" y="1984158"/>
                </a:lnTo>
                <a:lnTo>
                  <a:pt x="1376625" y="1032395"/>
                </a:lnTo>
                <a:cubicBezTo>
                  <a:pt x="1340560" y="874355"/>
                  <a:pt x="1307134" y="663243"/>
                  <a:pt x="1307134" y="663243"/>
                </a:cubicBezTo>
                <a:lnTo>
                  <a:pt x="1301563" y="663243"/>
                </a:lnTo>
                <a:cubicBezTo>
                  <a:pt x="1301563" y="663243"/>
                  <a:pt x="1268137" y="874062"/>
                  <a:pt x="1235004" y="1032395"/>
                </a:cubicBezTo>
                <a:lnTo>
                  <a:pt x="1026824" y="1984158"/>
                </a:lnTo>
                <a:lnTo>
                  <a:pt x="543906" y="1984158"/>
                </a:lnTo>
                <a:close/>
              </a:path>
            </a:pathLst>
          </a:custGeom>
          <a:solidFill>
            <a:schemeClr val="tx1"/>
          </a:solidFill>
        </p:spPr>
        <p:txBody>
          <a:bodyPr wrap="square">
            <a:noAutofit/>
          </a:bodyPr>
          <a:lstStyle>
            <a:lvl1pPr>
              <a:defRPr/>
            </a:lvl1pPr>
          </a:lstStyle>
          <a:p>
            <a:pPr lvl="0"/>
            <a:r>
              <a:rPr lang="en-US"/>
              <a:t> </a:t>
            </a:r>
            <a:endParaRPr lang="en-AU"/>
          </a:p>
        </p:txBody>
      </p:sp>
      <p:sp>
        <p:nvSpPr>
          <p:cNvPr id="9" name="Content Placeholder 40">
            <a:extLst>
              <a:ext uri="{FF2B5EF4-FFF2-40B4-BE49-F238E27FC236}">
                <a16:creationId xmlns:a16="http://schemas.microsoft.com/office/drawing/2014/main" id="{F1532452-CC41-4D46-929A-DD7E87248532}"/>
              </a:ext>
            </a:extLst>
          </p:cNvPr>
          <p:cNvSpPr>
            <a:spLocks noGrp="1"/>
          </p:cNvSpPr>
          <p:nvPr>
            <p:ph sz="quarter" idx="38" hasCustomPrompt="1"/>
          </p:nvPr>
        </p:nvSpPr>
        <p:spPr>
          <a:xfrm flipH="1">
            <a:off x="6515100" y="3487421"/>
            <a:ext cx="1305560" cy="426720"/>
          </a:xfrm>
        </p:spPr>
        <p:txBody>
          <a:bodyPr/>
          <a:lstStyle>
            <a:lvl1pPr algn="ctr">
              <a:defRPr>
                <a:solidFill>
                  <a:schemeClr val="bg1"/>
                </a:solidFill>
              </a:defRPr>
            </a:lvl1pPr>
          </a:lstStyle>
          <a:p>
            <a:pPr lvl="0"/>
            <a:r>
              <a:rPr lang="en-US"/>
              <a:t>White logo here</a:t>
            </a:r>
            <a:endParaRPr lang="en-AU"/>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79425" y="5497576"/>
            <a:ext cx="10796270" cy="395224"/>
          </a:xfrm>
        </p:spPr>
        <p:txBody>
          <a:bodyPr anchor="t" anchorCtr="0"/>
          <a:lstStyle>
            <a:lvl1pPr algn="l">
              <a:defRPr sz="3000">
                <a:solidFill>
                  <a:schemeClr val="tx1"/>
                </a:solidFill>
              </a:defRPr>
            </a:lvl1pPr>
          </a:lstStyle>
          <a:p>
            <a:r>
              <a:rPr lang="en-AU"/>
              <a:t>Title goes here</a:t>
            </a:r>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79425" y="5976747"/>
            <a:ext cx="3600000" cy="252000"/>
          </a:xfrm>
        </p:spPr>
        <p:txBody>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25" name="Text Placeholder 23">
            <a:extLst>
              <a:ext uri="{FF2B5EF4-FFF2-40B4-BE49-F238E27FC236}">
                <a16:creationId xmlns:a16="http://schemas.microsoft.com/office/drawing/2014/main" id="{1FE731C3-8128-7CC9-181E-1EE52468E737}"/>
              </a:ext>
            </a:extLst>
          </p:cNvPr>
          <p:cNvSpPr>
            <a:spLocks noGrp="1"/>
          </p:cNvSpPr>
          <p:nvPr>
            <p:ph type="body" sz="quarter" idx="35" hasCustomPrompt="1"/>
          </p:nvPr>
        </p:nvSpPr>
        <p:spPr>
          <a:xfrm>
            <a:off x="466463" y="947722"/>
            <a:ext cx="2318400" cy="4572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Tree>
    <p:extLst>
      <p:ext uri="{BB962C8B-B14F-4D97-AF65-F5344CB8AC3E}">
        <p14:creationId xmlns:p14="http://schemas.microsoft.com/office/powerpoint/2010/main" val="3242454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4_Together">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92387" y="5497576"/>
            <a:ext cx="10796270" cy="395224"/>
          </a:xfrm>
        </p:spPr>
        <p:txBody>
          <a:bodyPr anchor="t" anchorCtr="0"/>
          <a:lstStyle>
            <a:lvl1pPr algn="l">
              <a:defRPr sz="3000">
                <a:solidFill>
                  <a:schemeClr val="bg1"/>
                </a:solidFill>
              </a:defRPr>
            </a:lvl1pPr>
          </a:lstStyle>
          <a:p>
            <a:r>
              <a:rPr lang="en-AU"/>
              <a:t>Title goes here</a:t>
            </a:r>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92387" y="5976747"/>
            <a:ext cx="3600000" cy="252000"/>
          </a:xfrm>
        </p:spPr>
        <p:txBody>
          <a:bodyPr/>
          <a:lstStyle>
            <a:lvl1pPr marL="0" indent="0" algn="l">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25" name="Text Placeholder 23">
            <a:extLst>
              <a:ext uri="{FF2B5EF4-FFF2-40B4-BE49-F238E27FC236}">
                <a16:creationId xmlns:a16="http://schemas.microsoft.com/office/drawing/2014/main" id="{1FE731C3-8128-7CC9-181E-1EE52468E737}"/>
              </a:ext>
            </a:extLst>
          </p:cNvPr>
          <p:cNvSpPr>
            <a:spLocks noGrp="1"/>
          </p:cNvSpPr>
          <p:nvPr>
            <p:ph type="body" sz="quarter" idx="35" hasCustomPrompt="1"/>
          </p:nvPr>
        </p:nvSpPr>
        <p:spPr>
          <a:xfrm>
            <a:off x="479425" y="947722"/>
            <a:ext cx="2318400" cy="4572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21" name="Text Placeholder 20">
            <a:extLst>
              <a:ext uri="{FF2B5EF4-FFF2-40B4-BE49-F238E27FC236}">
                <a16:creationId xmlns:a16="http://schemas.microsoft.com/office/drawing/2014/main" id="{561FD153-AAE6-ACB8-0298-56640AE34860}"/>
              </a:ext>
            </a:extLst>
          </p:cNvPr>
          <p:cNvSpPr>
            <a:spLocks noGrp="1"/>
          </p:cNvSpPr>
          <p:nvPr>
            <p:ph type="body" sz="quarter" idx="36" hasCustomPrompt="1"/>
          </p:nvPr>
        </p:nvSpPr>
        <p:spPr>
          <a:xfrm>
            <a:off x="476568" y="2189120"/>
            <a:ext cx="11225849" cy="2525176"/>
          </a:xfrm>
          <a:custGeom>
            <a:avLst/>
            <a:gdLst>
              <a:gd name="connsiteX0" fmla="*/ 3749439 w 11225849"/>
              <a:gd name="connsiteY0" fmla="*/ 880102 h 2525176"/>
              <a:gd name="connsiteX1" fmla="*/ 3463460 w 11225849"/>
              <a:gd name="connsiteY1" fmla="*/ 1242424 h 2525176"/>
              <a:gd name="connsiteX2" fmla="*/ 3749439 w 11225849"/>
              <a:gd name="connsiteY2" fmla="*/ 1601977 h 2525176"/>
              <a:gd name="connsiteX3" fmla="*/ 4044037 w 11225849"/>
              <a:gd name="connsiteY3" fmla="*/ 1239654 h 2525176"/>
              <a:gd name="connsiteX4" fmla="*/ 3749439 w 11225849"/>
              <a:gd name="connsiteY4" fmla="*/ 880102 h 2525176"/>
              <a:gd name="connsiteX5" fmla="*/ 9423160 w 11225849"/>
              <a:gd name="connsiteY5" fmla="*/ 860401 h 2525176"/>
              <a:gd name="connsiteX6" fmla="*/ 9125792 w 11225849"/>
              <a:gd name="connsiteY6" fmla="*/ 1143610 h 2525176"/>
              <a:gd name="connsiteX7" fmla="*/ 9697750 w 11225849"/>
              <a:gd name="connsiteY7" fmla="*/ 1143610 h 2525176"/>
              <a:gd name="connsiteX8" fmla="*/ 9423160 w 11225849"/>
              <a:gd name="connsiteY8" fmla="*/ 860401 h 2525176"/>
              <a:gd name="connsiteX9" fmla="*/ 5354187 w 11225849"/>
              <a:gd name="connsiteY9" fmla="*/ 860401 h 2525176"/>
              <a:gd name="connsiteX10" fmla="*/ 5056818 w 11225849"/>
              <a:gd name="connsiteY10" fmla="*/ 1143610 h 2525176"/>
              <a:gd name="connsiteX11" fmla="*/ 5628777 w 11225849"/>
              <a:gd name="connsiteY11" fmla="*/ 1143610 h 2525176"/>
              <a:gd name="connsiteX12" fmla="*/ 5354187 w 11225849"/>
              <a:gd name="connsiteY12" fmla="*/ 860401 h 2525176"/>
              <a:gd name="connsiteX13" fmla="*/ 11135345 w 11225849"/>
              <a:gd name="connsiteY13" fmla="*/ 552257 h 2525176"/>
              <a:gd name="connsiteX14" fmla="*/ 11225849 w 11225849"/>
              <a:gd name="connsiteY14" fmla="*/ 563647 h 2525176"/>
              <a:gd name="connsiteX15" fmla="*/ 11225849 w 11225849"/>
              <a:gd name="connsiteY15" fmla="*/ 960139 h 2525176"/>
              <a:gd name="connsiteX16" fmla="*/ 11214458 w 11225849"/>
              <a:gd name="connsiteY16" fmla="*/ 960139 h 2525176"/>
              <a:gd name="connsiteX17" fmla="*/ 10750242 w 11225849"/>
              <a:gd name="connsiteY17" fmla="*/ 1373563 h 2525176"/>
              <a:gd name="connsiteX18" fmla="*/ 10750242 w 11225849"/>
              <a:gd name="connsiteY18" fmla="*/ 2024635 h 2525176"/>
              <a:gd name="connsiteX19" fmla="*/ 10288796 w 11225849"/>
              <a:gd name="connsiteY19" fmla="*/ 2024635 h 2525176"/>
              <a:gd name="connsiteX20" fmla="*/ 10288796 w 11225849"/>
              <a:gd name="connsiteY20" fmla="*/ 574729 h 2525176"/>
              <a:gd name="connsiteX21" fmla="*/ 10730233 w 11225849"/>
              <a:gd name="connsiteY21" fmla="*/ 574729 h 2525176"/>
              <a:gd name="connsiteX22" fmla="*/ 10730233 w 11225849"/>
              <a:gd name="connsiteY22" fmla="*/ 801296 h 2525176"/>
              <a:gd name="connsiteX23" fmla="*/ 10738852 w 11225849"/>
              <a:gd name="connsiteY23" fmla="*/ 801296 h 2525176"/>
              <a:gd name="connsiteX24" fmla="*/ 11135345 w 11225849"/>
              <a:gd name="connsiteY24" fmla="*/ 552257 h 2525176"/>
              <a:gd name="connsiteX25" fmla="*/ 3621996 w 11225849"/>
              <a:gd name="connsiteY25" fmla="*/ 532863 h 2525176"/>
              <a:gd name="connsiteX26" fmla="*/ 4029569 w 11225849"/>
              <a:gd name="connsiteY26" fmla="*/ 731109 h 2525176"/>
              <a:gd name="connsiteX27" fmla="*/ 4035110 w 11225849"/>
              <a:gd name="connsiteY27" fmla="*/ 731109 h 2525176"/>
              <a:gd name="connsiteX28" fmla="*/ 4035110 w 11225849"/>
              <a:gd name="connsiteY28" fmla="*/ 575344 h 2525176"/>
              <a:gd name="connsiteX29" fmla="*/ 4476854 w 11225849"/>
              <a:gd name="connsiteY29" fmla="*/ 575344 h 2525176"/>
              <a:gd name="connsiteX30" fmla="*/ 4476854 w 11225849"/>
              <a:gd name="connsiteY30" fmla="*/ 1882723 h 2525176"/>
              <a:gd name="connsiteX31" fmla="*/ 4284457 w 11225849"/>
              <a:gd name="connsiteY31" fmla="*/ 2363870 h 2525176"/>
              <a:gd name="connsiteX32" fmla="*/ 3752209 w 11225849"/>
              <a:gd name="connsiteY32" fmla="*/ 2525176 h 2525176"/>
              <a:gd name="connsiteX33" fmla="*/ 3044495 w 11225849"/>
              <a:gd name="connsiteY33" fmla="*/ 2057881 h 2525176"/>
              <a:gd name="connsiteX34" fmla="*/ 3044803 w 11225849"/>
              <a:gd name="connsiteY34" fmla="*/ 2058497 h 2525176"/>
              <a:gd name="connsiteX35" fmla="*/ 3492089 w 11225849"/>
              <a:gd name="connsiteY35" fmla="*/ 2058497 h 2525176"/>
              <a:gd name="connsiteX36" fmla="*/ 3746976 w 11225849"/>
              <a:gd name="connsiteY36" fmla="*/ 2200101 h 2525176"/>
              <a:gd name="connsiteX37" fmla="*/ 4024336 w 11225849"/>
              <a:gd name="connsiteY37" fmla="*/ 1922741 h 2525176"/>
              <a:gd name="connsiteX38" fmla="*/ 4024336 w 11225849"/>
              <a:gd name="connsiteY38" fmla="*/ 1778366 h 2525176"/>
              <a:gd name="connsiteX39" fmla="*/ 4012946 w 11225849"/>
              <a:gd name="connsiteY39" fmla="*/ 1778366 h 2525176"/>
              <a:gd name="connsiteX40" fmla="*/ 3642005 w 11225849"/>
              <a:gd name="connsiteY40" fmla="*/ 1945521 h 2525176"/>
              <a:gd name="connsiteX41" fmla="*/ 3013404 w 11225849"/>
              <a:gd name="connsiteY41" fmla="*/ 1257508 h 2525176"/>
              <a:gd name="connsiteX42" fmla="*/ 3621996 w 11225849"/>
              <a:gd name="connsiteY42" fmla="*/ 532863 h 2525176"/>
              <a:gd name="connsiteX43" fmla="*/ 9414541 w 11225849"/>
              <a:gd name="connsiteY43" fmla="*/ 532248 h 2525176"/>
              <a:gd name="connsiteX44" fmla="*/ 9910157 w 11225849"/>
              <a:gd name="connsiteY44" fmla="*/ 713563 h 2525176"/>
              <a:gd name="connsiteX45" fmla="*/ 10165045 w 11225849"/>
              <a:gd name="connsiteY45" fmla="*/ 1418507 h 2525176"/>
              <a:gd name="connsiteX46" fmla="*/ 9123020 w 11225849"/>
              <a:gd name="connsiteY46" fmla="*/ 1418507 h 2525176"/>
              <a:gd name="connsiteX47" fmla="*/ 9448711 w 11225849"/>
              <a:gd name="connsiteY47" fmla="*/ 1735578 h 2525176"/>
              <a:gd name="connsiteX48" fmla="*/ 9689439 w 11225849"/>
              <a:gd name="connsiteY48" fmla="*/ 1591203 h 2525176"/>
              <a:gd name="connsiteX49" fmla="*/ 10139495 w 11225849"/>
              <a:gd name="connsiteY49" fmla="*/ 1591203 h 2525176"/>
              <a:gd name="connsiteX50" fmla="*/ 9895997 w 11225849"/>
              <a:gd name="connsiteY50" fmla="*/ 1933824 h 2525176"/>
              <a:gd name="connsiteX51" fmla="*/ 9442862 w 11225849"/>
              <a:gd name="connsiteY51" fmla="*/ 2066809 h 2525176"/>
              <a:gd name="connsiteX52" fmla="*/ 8669887 w 11225849"/>
              <a:gd name="connsiteY52" fmla="*/ 1296604 h 2525176"/>
              <a:gd name="connsiteX53" fmla="*/ 9414541 w 11225849"/>
              <a:gd name="connsiteY53" fmla="*/ 532248 h 2525176"/>
              <a:gd name="connsiteX54" fmla="*/ 5345876 w 11225849"/>
              <a:gd name="connsiteY54" fmla="*/ 532248 h 2525176"/>
              <a:gd name="connsiteX55" fmla="*/ 5841183 w 11225849"/>
              <a:gd name="connsiteY55" fmla="*/ 713563 h 2525176"/>
              <a:gd name="connsiteX56" fmla="*/ 6096071 w 11225849"/>
              <a:gd name="connsiteY56" fmla="*/ 1418507 h 2525176"/>
              <a:gd name="connsiteX57" fmla="*/ 5054047 w 11225849"/>
              <a:gd name="connsiteY57" fmla="*/ 1418507 h 2525176"/>
              <a:gd name="connsiteX58" fmla="*/ 5379737 w 11225849"/>
              <a:gd name="connsiteY58" fmla="*/ 1735578 h 2525176"/>
              <a:gd name="connsiteX59" fmla="*/ 5620465 w 11225849"/>
              <a:gd name="connsiteY59" fmla="*/ 1591203 h 2525176"/>
              <a:gd name="connsiteX60" fmla="*/ 6070521 w 11225849"/>
              <a:gd name="connsiteY60" fmla="*/ 1591203 h 2525176"/>
              <a:gd name="connsiteX61" fmla="*/ 5827023 w 11225849"/>
              <a:gd name="connsiteY61" fmla="*/ 1933824 h 2525176"/>
              <a:gd name="connsiteX62" fmla="*/ 5373889 w 11225849"/>
              <a:gd name="connsiteY62" fmla="*/ 2066809 h 2525176"/>
              <a:gd name="connsiteX63" fmla="*/ 4600913 w 11225849"/>
              <a:gd name="connsiteY63" fmla="*/ 1296604 h 2525176"/>
              <a:gd name="connsiteX64" fmla="*/ 4601221 w 11225849"/>
              <a:gd name="connsiteY64" fmla="*/ 1296604 h 2525176"/>
              <a:gd name="connsiteX65" fmla="*/ 5345876 w 11225849"/>
              <a:gd name="connsiteY65" fmla="*/ 532248 h 2525176"/>
              <a:gd name="connsiteX66" fmla="*/ 2157004 w 11225849"/>
              <a:gd name="connsiteY66" fmla="*/ 521165 h 2525176"/>
              <a:gd name="connsiteX67" fmla="*/ 2938907 w 11225849"/>
              <a:gd name="connsiteY67" fmla="*/ 1303068 h 2525176"/>
              <a:gd name="connsiteX68" fmla="*/ 2157004 w 11225849"/>
              <a:gd name="connsiteY68" fmla="*/ 2084971 h 2525176"/>
              <a:gd name="connsiteX69" fmla="*/ 1375101 w 11225849"/>
              <a:gd name="connsiteY69" fmla="*/ 1303068 h 2525176"/>
              <a:gd name="connsiteX70" fmla="*/ 2157004 w 11225849"/>
              <a:gd name="connsiteY70" fmla="*/ 521165 h 2525176"/>
              <a:gd name="connsiteX71" fmla="*/ 6304784 w 11225849"/>
              <a:gd name="connsiteY71" fmla="*/ 116054 h 2525176"/>
              <a:gd name="connsiteX72" fmla="*/ 6754840 w 11225849"/>
              <a:gd name="connsiteY72" fmla="*/ 116054 h 2525176"/>
              <a:gd name="connsiteX73" fmla="*/ 6754840 w 11225849"/>
              <a:gd name="connsiteY73" fmla="*/ 574729 h 2525176"/>
              <a:gd name="connsiteX74" fmla="*/ 7018040 w 11225849"/>
              <a:gd name="connsiteY74" fmla="*/ 574729 h 2525176"/>
              <a:gd name="connsiteX75" fmla="*/ 7018040 w 11225849"/>
              <a:gd name="connsiteY75" fmla="*/ 863479 h 2525176"/>
              <a:gd name="connsiteX76" fmla="*/ 6754840 w 11225849"/>
              <a:gd name="connsiteY76" fmla="*/ 863479 h 2525176"/>
              <a:gd name="connsiteX77" fmla="*/ 6754840 w 11225849"/>
              <a:gd name="connsiteY77" fmla="*/ 1542873 h 2525176"/>
              <a:gd name="connsiteX78" fmla="*/ 6916146 w 11225849"/>
              <a:gd name="connsiteY78" fmla="*/ 1684477 h 2525176"/>
              <a:gd name="connsiteX79" fmla="*/ 7018040 w 11225849"/>
              <a:gd name="connsiteY79" fmla="*/ 1681707 h 2525176"/>
              <a:gd name="connsiteX80" fmla="*/ 7018040 w 11225849"/>
              <a:gd name="connsiteY80" fmla="*/ 2018787 h 2525176"/>
              <a:gd name="connsiteX81" fmla="*/ 6766231 w 11225849"/>
              <a:gd name="connsiteY81" fmla="*/ 2041567 h 2525176"/>
              <a:gd name="connsiteX82" fmla="*/ 6304784 w 11225849"/>
              <a:gd name="connsiteY82" fmla="*/ 1642304 h 2525176"/>
              <a:gd name="connsiteX83" fmla="*/ 6304784 w 11225849"/>
              <a:gd name="connsiteY83" fmla="*/ 863479 h 2525176"/>
              <a:gd name="connsiteX84" fmla="*/ 6112387 w 11225849"/>
              <a:gd name="connsiteY84" fmla="*/ 863479 h 2525176"/>
              <a:gd name="connsiteX85" fmla="*/ 6112387 w 11225849"/>
              <a:gd name="connsiteY85" fmla="*/ 574729 h 2525176"/>
              <a:gd name="connsiteX86" fmla="*/ 6304784 w 11225849"/>
              <a:gd name="connsiteY86" fmla="*/ 574729 h 2525176"/>
              <a:gd name="connsiteX87" fmla="*/ 7153180 w 11225849"/>
              <a:gd name="connsiteY87" fmla="*/ 0 h 2525176"/>
              <a:gd name="connsiteX88" fmla="*/ 7614626 w 11225849"/>
              <a:gd name="connsiteY88" fmla="*/ 0 h 2525176"/>
              <a:gd name="connsiteX89" fmla="*/ 7614626 w 11225849"/>
              <a:gd name="connsiteY89" fmla="*/ 753274 h 2525176"/>
              <a:gd name="connsiteX90" fmla="*/ 7623245 w 11225849"/>
              <a:gd name="connsiteY90" fmla="*/ 753274 h 2525176"/>
              <a:gd name="connsiteX91" fmla="*/ 8053600 w 11225849"/>
              <a:gd name="connsiteY91" fmla="*/ 532556 h 2525176"/>
              <a:gd name="connsiteX92" fmla="*/ 8557527 w 11225849"/>
              <a:gd name="connsiteY92" fmla="*/ 1081735 h 2525176"/>
              <a:gd name="connsiteX93" fmla="*/ 8557527 w 11225849"/>
              <a:gd name="connsiteY93" fmla="*/ 2024636 h 2525176"/>
              <a:gd name="connsiteX94" fmla="*/ 8096081 w 11225849"/>
              <a:gd name="connsiteY94" fmla="*/ 2024636 h 2525176"/>
              <a:gd name="connsiteX95" fmla="*/ 8096081 w 11225849"/>
              <a:gd name="connsiteY95" fmla="*/ 1175317 h 2525176"/>
              <a:gd name="connsiteX96" fmla="*/ 7869514 w 11225849"/>
              <a:gd name="connsiteY96" fmla="*/ 917658 h 2525176"/>
              <a:gd name="connsiteX97" fmla="*/ 7614626 w 11225849"/>
              <a:gd name="connsiteY97" fmla="*/ 1223339 h 2525176"/>
              <a:gd name="connsiteX98" fmla="*/ 7614626 w 11225849"/>
              <a:gd name="connsiteY98" fmla="*/ 2024636 h 2525176"/>
              <a:gd name="connsiteX99" fmla="*/ 7153180 w 11225849"/>
              <a:gd name="connsiteY99" fmla="*/ 2024636 h 2525176"/>
              <a:gd name="connsiteX100" fmla="*/ 0 w 11225849"/>
              <a:gd name="connsiteY100" fmla="*/ 0 h 2525176"/>
              <a:gd name="connsiteX101" fmla="*/ 1684786 w 11225849"/>
              <a:gd name="connsiteY101" fmla="*/ 0 h 2525176"/>
              <a:gd name="connsiteX102" fmla="*/ 1684786 w 11225849"/>
              <a:gd name="connsiteY102" fmla="*/ 424813 h 2525176"/>
              <a:gd name="connsiteX103" fmla="*/ 1090047 w 11225849"/>
              <a:gd name="connsiteY103" fmla="*/ 424813 h 2525176"/>
              <a:gd name="connsiteX104" fmla="*/ 1090047 w 11225849"/>
              <a:gd name="connsiteY104" fmla="*/ 2024328 h 2525176"/>
              <a:gd name="connsiteX105" fmla="*/ 588890 w 11225849"/>
              <a:gd name="connsiteY105" fmla="*/ 2024328 h 2525176"/>
              <a:gd name="connsiteX106" fmla="*/ 588890 w 11225849"/>
              <a:gd name="connsiteY106" fmla="*/ 424813 h 2525176"/>
              <a:gd name="connsiteX107" fmla="*/ 0 w 11225849"/>
              <a:gd name="connsiteY107" fmla="*/ 424813 h 252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225849" h="2525176">
                <a:moveTo>
                  <a:pt x="3749439" y="880102"/>
                </a:moveTo>
                <a:cubicBezTo>
                  <a:pt x="3576744" y="880102"/>
                  <a:pt x="3463460" y="1021706"/>
                  <a:pt x="3463460" y="1242424"/>
                </a:cubicBezTo>
                <a:cubicBezTo>
                  <a:pt x="3463460" y="1463143"/>
                  <a:pt x="3576744" y="1601977"/>
                  <a:pt x="3749439" y="1601977"/>
                </a:cubicBezTo>
                <a:cubicBezTo>
                  <a:pt x="3950455" y="1601977"/>
                  <a:pt x="4044037" y="1443441"/>
                  <a:pt x="4044037" y="1239654"/>
                </a:cubicBezTo>
                <a:cubicBezTo>
                  <a:pt x="4044037" y="1044486"/>
                  <a:pt x="3942144" y="880102"/>
                  <a:pt x="3749439" y="880102"/>
                </a:cubicBezTo>
                <a:close/>
                <a:moveTo>
                  <a:pt x="9423160" y="860401"/>
                </a:moveTo>
                <a:cubicBezTo>
                  <a:pt x="9247695" y="860401"/>
                  <a:pt x="9157191" y="970914"/>
                  <a:pt x="9125792" y="1143610"/>
                </a:cubicBezTo>
                <a:lnTo>
                  <a:pt x="9697750" y="1143610"/>
                </a:lnTo>
                <a:cubicBezTo>
                  <a:pt x="9680820" y="970914"/>
                  <a:pt x="9573077" y="860401"/>
                  <a:pt x="9423160" y="860401"/>
                </a:cubicBezTo>
                <a:close/>
                <a:moveTo>
                  <a:pt x="5354187" y="860401"/>
                </a:moveTo>
                <a:cubicBezTo>
                  <a:pt x="5178721" y="860401"/>
                  <a:pt x="5087909" y="970914"/>
                  <a:pt x="5056818" y="1143610"/>
                </a:cubicBezTo>
                <a:lnTo>
                  <a:pt x="5628777" y="1143610"/>
                </a:lnTo>
                <a:cubicBezTo>
                  <a:pt x="5611846" y="970914"/>
                  <a:pt x="5504103" y="860401"/>
                  <a:pt x="5354187" y="860401"/>
                </a:cubicBezTo>
                <a:close/>
                <a:moveTo>
                  <a:pt x="11135345" y="552257"/>
                </a:moveTo>
                <a:cubicBezTo>
                  <a:pt x="11177825" y="552257"/>
                  <a:pt x="11206147" y="555028"/>
                  <a:pt x="11225849" y="563647"/>
                </a:cubicBezTo>
                <a:lnTo>
                  <a:pt x="11225849" y="960139"/>
                </a:lnTo>
                <a:lnTo>
                  <a:pt x="11214458" y="960139"/>
                </a:lnTo>
                <a:cubicBezTo>
                  <a:pt x="10931249" y="920429"/>
                  <a:pt x="10750242" y="1059262"/>
                  <a:pt x="10750242" y="1373563"/>
                </a:cubicBezTo>
                <a:lnTo>
                  <a:pt x="10750242" y="2024635"/>
                </a:lnTo>
                <a:lnTo>
                  <a:pt x="10288796" y="2024635"/>
                </a:lnTo>
                <a:lnTo>
                  <a:pt x="10288796" y="574729"/>
                </a:lnTo>
                <a:lnTo>
                  <a:pt x="10730233" y="574729"/>
                </a:lnTo>
                <a:lnTo>
                  <a:pt x="10730233" y="801296"/>
                </a:lnTo>
                <a:lnTo>
                  <a:pt x="10738852" y="801296"/>
                </a:lnTo>
                <a:cubicBezTo>
                  <a:pt x="10840746" y="628600"/>
                  <a:pt x="10959570" y="552257"/>
                  <a:pt x="11135345" y="552257"/>
                </a:cubicBezTo>
                <a:close/>
                <a:moveTo>
                  <a:pt x="3621996" y="532863"/>
                </a:moveTo>
                <a:cubicBezTo>
                  <a:pt x="3814392" y="532863"/>
                  <a:pt x="3944606" y="609206"/>
                  <a:pt x="4029569" y="731109"/>
                </a:cubicBezTo>
                <a:lnTo>
                  <a:pt x="4035110" y="731109"/>
                </a:lnTo>
                <a:lnTo>
                  <a:pt x="4035110" y="575344"/>
                </a:lnTo>
                <a:lnTo>
                  <a:pt x="4476854" y="575344"/>
                </a:lnTo>
                <a:lnTo>
                  <a:pt x="4476854" y="1882723"/>
                </a:lnTo>
                <a:cubicBezTo>
                  <a:pt x="4476854" y="2100670"/>
                  <a:pt x="4400511" y="2259206"/>
                  <a:pt x="4284457" y="2363870"/>
                </a:cubicBezTo>
                <a:cubicBezTo>
                  <a:pt x="4157013" y="2477154"/>
                  <a:pt x="3967386" y="2525176"/>
                  <a:pt x="3752209" y="2525176"/>
                </a:cubicBezTo>
                <a:cubicBezTo>
                  <a:pt x="3352947" y="2525176"/>
                  <a:pt x="3089747" y="2361099"/>
                  <a:pt x="3044495" y="2057881"/>
                </a:cubicBezTo>
                <a:lnTo>
                  <a:pt x="3044803" y="2058497"/>
                </a:lnTo>
                <a:lnTo>
                  <a:pt x="3492089" y="2058497"/>
                </a:lnTo>
                <a:cubicBezTo>
                  <a:pt x="3517639" y="2134840"/>
                  <a:pt x="3593982" y="2200101"/>
                  <a:pt x="3746976" y="2200101"/>
                </a:cubicBezTo>
                <a:cubicBezTo>
                  <a:pt x="3942452" y="2200101"/>
                  <a:pt x="4024336" y="2098208"/>
                  <a:pt x="4024336" y="1922741"/>
                </a:cubicBezTo>
                <a:lnTo>
                  <a:pt x="4024336" y="1778366"/>
                </a:lnTo>
                <a:lnTo>
                  <a:pt x="4012946" y="1778366"/>
                </a:lnTo>
                <a:cubicBezTo>
                  <a:pt x="3927983" y="1874719"/>
                  <a:pt x="3817470" y="1945521"/>
                  <a:pt x="3642005" y="1945521"/>
                </a:cubicBezTo>
                <a:cubicBezTo>
                  <a:pt x="3316315" y="1945521"/>
                  <a:pt x="3013404" y="1702023"/>
                  <a:pt x="3013404" y="1257508"/>
                </a:cubicBezTo>
                <a:cubicBezTo>
                  <a:pt x="3013404" y="812994"/>
                  <a:pt x="3262443" y="532863"/>
                  <a:pt x="3621996" y="532863"/>
                </a:cubicBezTo>
                <a:close/>
                <a:moveTo>
                  <a:pt x="9414541" y="532248"/>
                </a:moveTo>
                <a:cubicBezTo>
                  <a:pt x="9621100" y="532248"/>
                  <a:pt x="9785484" y="600280"/>
                  <a:pt x="9910157" y="713563"/>
                </a:cubicBezTo>
                <a:cubicBezTo>
                  <a:pt x="10082853" y="872099"/>
                  <a:pt x="10167815" y="1124216"/>
                  <a:pt x="10165045" y="1418507"/>
                </a:cubicBezTo>
                <a:lnTo>
                  <a:pt x="9123020" y="1418507"/>
                </a:lnTo>
                <a:cubicBezTo>
                  <a:pt x="9151342" y="1613983"/>
                  <a:pt x="9258776" y="1735578"/>
                  <a:pt x="9448711" y="1735578"/>
                </a:cubicBezTo>
                <a:cubicBezTo>
                  <a:pt x="9570614" y="1735578"/>
                  <a:pt x="9649728" y="1681707"/>
                  <a:pt x="9689439" y="1591203"/>
                </a:cubicBezTo>
                <a:lnTo>
                  <a:pt x="10139495" y="1591203"/>
                </a:lnTo>
                <a:cubicBezTo>
                  <a:pt x="10108403" y="1721417"/>
                  <a:pt x="10023440" y="1846091"/>
                  <a:pt x="9895997" y="1933824"/>
                </a:cubicBezTo>
                <a:cubicBezTo>
                  <a:pt x="9774094" y="2018787"/>
                  <a:pt x="9626949" y="2066809"/>
                  <a:pt x="9442862" y="2066809"/>
                </a:cubicBezTo>
                <a:cubicBezTo>
                  <a:pt x="8964485" y="2066809"/>
                  <a:pt x="8669887" y="1735578"/>
                  <a:pt x="8669887" y="1296604"/>
                </a:cubicBezTo>
                <a:cubicBezTo>
                  <a:pt x="8669887" y="863479"/>
                  <a:pt x="8972797" y="532248"/>
                  <a:pt x="9414541" y="532248"/>
                </a:cubicBezTo>
                <a:close/>
                <a:moveTo>
                  <a:pt x="5345876" y="532248"/>
                </a:moveTo>
                <a:cubicBezTo>
                  <a:pt x="5552433" y="532248"/>
                  <a:pt x="5716818" y="600280"/>
                  <a:pt x="5841183" y="713563"/>
                </a:cubicBezTo>
                <a:cubicBezTo>
                  <a:pt x="6013879" y="872099"/>
                  <a:pt x="6098842" y="1124216"/>
                  <a:pt x="6096071" y="1418507"/>
                </a:cubicBezTo>
                <a:lnTo>
                  <a:pt x="5054047" y="1418507"/>
                </a:lnTo>
                <a:cubicBezTo>
                  <a:pt x="5082368" y="1613983"/>
                  <a:pt x="5189803" y="1735578"/>
                  <a:pt x="5379737" y="1735578"/>
                </a:cubicBezTo>
                <a:cubicBezTo>
                  <a:pt x="5501641" y="1735578"/>
                  <a:pt x="5580754" y="1681707"/>
                  <a:pt x="5620465" y="1591203"/>
                </a:cubicBezTo>
                <a:lnTo>
                  <a:pt x="6070521" y="1591203"/>
                </a:lnTo>
                <a:cubicBezTo>
                  <a:pt x="6039430" y="1721417"/>
                  <a:pt x="5954467" y="1846091"/>
                  <a:pt x="5827023" y="1933824"/>
                </a:cubicBezTo>
                <a:cubicBezTo>
                  <a:pt x="5705120" y="2018787"/>
                  <a:pt x="5557975" y="2066809"/>
                  <a:pt x="5373889" y="2066809"/>
                </a:cubicBezTo>
                <a:cubicBezTo>
                  <a:pt x="4895512" y="2066809"/>
                  <a:pt x="4600913" y="1735578"/>
                  <a:pt x="4600913" y="1296604"/>
                </a:cubicBezTo>
                <a:lnTo>
                  <a:pt x="4601221" y="1296604"/>
                </a:lnTo>
                <a:cubicBezTo>
                  <a:pt x="4601221" y="863479"/>
                  <a:pt x="4904131" y="532248"/>
                  <a:pt x="5345876" y="532248"/>
                </a:cubicBezTo>
                <a:close/>
                <a:moveTo>
                  <a:pt x="2157004" y="521165"/>
                </a:moveTo>
                <a:cubicBezTo>
                  <a:pt x="2588898" y="521165"/>
                  <a:pt x="2938907" y="871174"/>
                  <a:pt x="2938907" y="1303068"/>
                </a:cubicBezTo>
                <a:cubicBezTo>
                  <a:pt x="2938907" y="1734961"/>
                  <a:pt x="2588898" y="2084971"/>
                  <a:pt x="2157004" y="2084971"/>
                </a:cubicBezTo>
                <a:cubicBezTo>
                  <a:pt x="1725110" y="2084971"/>
                  <a:pt x="1375101" y="1734961"/>
                  <a:pt x="1375101" y="1303068"/>
                </a:cubicBezTo>
                <a:cubicBezTo>
                  <a:pt x="1375101" y="871174"/>
                  <a:pt x="1725110" y="521165"/>
                  <a:pt x="2157004" y="521165"/>
                </a:cubicBezTo>
                <a:close/>
                <a:moveTo>
                  <a:pt x="6304784" y="116054"/>
                </a:moveTo>
                <a:lnTo>
                  <a:pt x="6754840" y="116054"/>
                </a:lnTo>
                <a:lnTo>
                  <a:pt x="6754840" y="574729"/>
                </a:lnTo>
                <a:lnTo>
                  <a:pt x="7018040" y="574729"/>
                </a:lnTo>
                <a:lnTo>
                  <a:pt x="7018040" y="863479"/>
                </a:lnTo>
                <a:lnTo>
                  <a:pt x="6754840" y="863479"/>
                </a:lnTo>
                <a:lnTo>
                  <a:pt x="6754840" y="1542873"/>
                </a:lnTo>
                <a:cubicBezTo>
                  <a:pt x="6754840" y="1656156"/>
                  <a:pt x="6817023" y="1684477"/>
                  <a:pt x="6916146" y="1684477"/>
                </a:cubicBezTo>
                <a:cubicBezTo>
                  <a:pt x="6955858" y="1684477"/>
                  <a:pt x="7001109" y="1681707"/>
                  <a:pt x="7018040" y="1681707"/>
                </a:cubicBezTo>
                <a:lnTo>
                  <a:pt x="7018040" y="2018787"/>
                </a:lnTo>
                <a:cubicBezTo>
                  <a:pt x="6978329" y="2030177"/>
                  <a:pt x="6890596" y="2041567"/>
                  <a:pt x="6766231" y="2041567"/>
                </a:cubicBezTo>
                <a:cubicBezTo>
                  <a:pt x="6497182" y="2041567"/>
                  <a:pt x="6304784" y="1953833"/>
                  <a:pt x="6304784" y="1642304"/>
                </a:cubicBezTo>
                <a:lnTo>
                  <a:pt x="6304784" y="863479"/>
                </a:lnTo>
                <a:lnTo>
                  <a:pt x="6112387" y="863479"/>
                </a:lnTo>
                <a:lnTo>
                  <a:pt x="6112387" y="574729"/>
                </a:lnTo>
                <a:lnTo>
                  <a:pt x="6304784" y="574729"/>
                </a:lnTo>
                <a:close/>
                <a:moveTo>
                  <a:pt x="7153180" y="0"/>
                </a:moveTo>
                <a:lnTo>
                  <a:pt x="7614626" y="0"/>
                </a:lnTo>
                <a:lnTo>
                  <a:pt x="7614626" y="753274"/>
                </a:lnTo>
                <a:lnTo>
                  <a:pt x="7623245" y="753274"/>
                </a:lnTo>
                <a:cubicBezTo>
                  <a:pt x="7727909" y="614440"/>
                  <a:pt x="7852583" y="532556"/>
                  <a:pt x="8053600" y="532556"/>
                </a:cubicBezTo>
                <a:cubicBezTo>
                  <a:pt x="8370671" y="532556"/>
                  <a:pt x="8557527" y="759123"/>
                  <a:pt x="8557527" y="1081735"/>
                </a:cubicBezTo>
                <a:lnTo>
                  <a:pt x="8557527" y="2024636"/>
                </a:lnTo>
                <a:lnTo>
                  <a:pt x="8096081" y="2024636"/>
                </a:lnTo>
                <a:lnTo>
                  <a:pt x="8096081" y="1175317"/>
                </a:lnTo>
                <a:cubicBezTo>
                  <a:pt x="8096081" y="1022322"/>
                  <a:pt x="8019738" y="917658"/>
                  <a:pt x="7869514" y="917658"/>
                </a:cubicBezTo>
                <a:cubicBezTo>
                  <a:pt x="7719290" y="917658"/>
                  <a:pt x="7614626" y="1045102"/>
                  <a:pt x="7614626" y="1223339"/>
                </a:cubicBezTo>
                <a:lnTo>
                  <a:pt x="7614626" y="2024636"/>
                </a:lnTo>
                <a:lnTo>
                  <a:pt x="7153180" y="2024636"/>
                </a:lnTo>
                <a:close/>
                <a:moveTo>
                  <a:pt x="0" y="0"/>
                </a:moveTo>
                <a:lnTo>
                  <a:pt x="1684786" y="0"/>
                </a:lnTo>
                <a:lnTo>
                  <a:pt x="1684786" y="424813"/>
                </a:lnTo>
                <a:lnTo>
                  <a:pt x="1090047" y="424813"/>
                </a:lnTo>
                <a:lnTo>
                  <a:pt x="1090047" y="2024328"/>
                </a:lnTo>
                <a:lnTo>
                  <a:pt x="588890" y="2024328"/>
                </a:lnTo>
                <a:lnTo>
                  <a:pt x="588890" y="424813"/>
                </a:lnTo>
                <a:lnTo>
                  <a:pt x="0" y="424813"/>
                </a:lnTo>
                <a:close/>
              </a:path>
            </a:pathLst>
          </a:custGeom>
          <a:solidFill>
            <a:schemeClr val="bg1"/>
          </a:solidFill>
        </p:spPr>
        <p:txBody>
          <a:bodyPr wrap="square">
            <a:noAutofit/>
          </a:bodyPr>
          <a:lstStyle>
            <a:lvl1pPr>
              <a:defRPr/>
            </a:lvl1pPr>
          </a:lstStyle>
          <a:p>
            <a:pPr lvl="0"/>
            <a:r>
              <a:rPr lang="en-US"/>
              <a:t> </a:t>
            </a:r>
            <a:endParaRPr lang="en-AU"/>
          </a:p>
        </p:txBody>
      </p:sp>
      <p:sp>
        <p:nvSpPr>
          <p:cNvPr id="23" name="Content Placeholder 40">
            <a:extLst>
              <a:ext uri="{FF2B5EF4-FFF2-40B4-BE49-F238E27FC236}">
                <a16:creationId xmlns:a16="http://schemas.microsoft.com/office/drawing/2014/main" id="{37A46FE4-3B29-1CB2-8CD2-2019DDB8159E}"/>
              </a:ext>
            </a:extLst>
          </p:cNvPr>
          <p:cNvSpPr>
            <a:spLocks noGrp="1"/>
          </p:cNvSpPr>
          <p:nvPr>
            <p:ph sz="quarter" idx="38" hasCustomPrompt="1"/>
          </p:nvPr>
        </p:nvSpPr>
        <p:spPr>
          <a:xfrm flipH="1">
            <a:off x="1981200" y="3225801"/>
            <a:ext cx="1305560" cy="528320"/>
          </a:xfrm>
        </p:spPr>
        <p:txBody>
          <a:bodyPr/>
          <a:lstStyle>
            <a:lvl1pPr algn="ctr">
              <a:defRPr>
                <a:solidFill>
                  <a:schemeClr val="tx1"/>
                </a:solidFill>
              </a:defRPr>
            </a:lvl1pPr>
          </a:lstStyle>
          <a:p>
            <a:pPr lvl="0"/>
            <a:r>
              <a:rPr lang="en-US"/>
              <a:t>Black logo here</a:t>
            </a:r>
            <a:endParaRPr lang="en-AU"/>
          </a:p>
        </p:txBody>
      </p:sp>
      <p:sp>
        <p:nvSpPr>
          <p:cNvPr id="5" name="Rectangle 4">
            <a:extLst>
              <a:ext uri="{FF2B5EF4-FFF2-40B4-BE49-F238E27FC236}">
                <a16:creationId xmlns:a16="http://schemas.microsoft.com/office/drawing/2014/main" id="{6BF53B52-FAD1-33B3-5E0A-54729E8D7456}"/>
              </a:ext>
            </a:extLst>
          </p:cNvPr>
          <p:cNvSpPr/>
          <p:nvPr userDrawn="1"/>
        </p:nvSpPr>
        <p:spPr>
          <a:xfrm>
            <a:off x="0" y="0"/>
            <a:ext cx="12192000" cy="13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82099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essaging Divider_all in on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A329DA71-97E7-DA2A-940E-0C722B295981}"/>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0" y="129210"/>
            <a:ext cx="12204000" cy="6735362"/>
          </a:xfrm>
          <a:prstGeom prst="rect">
            <a:avLst/>
          </a:prstGeom>
        </p:spPr>
      </p:pic>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grpSp>
        <p:nvGrpSpPr>
          <p:cNvPr id="25" name="Group 24">
            <a:extLst>
              <a:ext uri="{FF2B5EF4-FFF2-40B4-BE49-F238E27FC236}">
                <a16:creationId xmlns:a16="http://schemas.microsoft.com/office/drawing/2014/main" id="{503F2BB6-EAE1-2793-16EF-FFF39A4CEB0A}"/>
              </a:ext>
            </a:extLst>
          </p:cNvPr>
          <p:cNvGrpSpPr/>
          <p:nvPr/>
        </p:nvGrpSpPr>
        <p:grpSpPr>
          <a:xfrm>
            <a:off x="1279620" y="2386298"/>
            <a:ext cx="9668474" cy="1826324"/>
            <a:chOff x="1929860" y="2273236"/>
            <a:chExt cx="3123819" cy="590073"/>
          </a:xfrm>
        </p:grpSpPr>
        <p:sp>
          <p:nvSpPr>
            <p:cNvPr id="11" name="Freeform: Shape 10">
              <a:extLst>
                <a:ext uri="{FF2B5EF4-FFF2-40B4-BE49-F238E27FC236}">
                  <a16:creationId xmlns:a16="http://schemas.microsoft.com/office/drawing/2014/main" id="{05FEB94E-2758-7436-1EF2-972D8FF667BB}"/>
                </a:ext>
              </a:extLst>
            </p:cNvPr>
            <p:cNvSpPr/>
            <p:nvPr/>
          </p:nvSpPr>
          <p:spPr>
            <a:xfrm>
              <a:off x="3595497" y="2421350"/>
              <a:ext cx="1266355" cy="441959"/>
            </a:xfrm>
            <a:custGeom>
              <a:avLst/>
              <a:gdLst>
                <a:gd name="connsiteX0" fmla="*/ 1060514 w 1266355"/>
                <a:gd name="connsiteY0" fmla="*/ 348805 h 441959"/>
                <a:gd name="connsiteX1" fmla="*/ 964216 w 1266355"/>
                <a:gd name="connsiteY1" fmla="*/ 255175 h 441959"/>
                <a:gd name="connsiteX2" fmla="*/ 963930 w 1266355"/>
                <a:gd name="connsiteY2" fmla="*/ 252984 h 441959"/>
                <a:gd name="connsiteX3" fmla="*/ 1266349 w 1266355"/>
                <a:gd name="connsiteY3" fmla="*/ 252984 h 441959"/>
                <a:gd name="connsiteX4" fmla="*/ 1193101 w 1266355"/>
                <a:gd name="connsiteY4" fmla="*/ 52006 h 441959"/>
                <a:gd name="connsiteX5" fmla="*/ 1050798 w 1266355"/>
                <a:gd name="connsiteY5" fmla="*/ 0 h 441959"/>
                <a:gd name="connsiteX6" fmla="*/ 839819 w 1266355"/>
                <a:gd name="connsiteY6" fmla="*/ 181165 h 441959"/>
                <a:gd name="connsiteX7" fmla="*/ 839819 w 1266355"/>
                <a:gd name="connsiteY7" fmla="*/ 157353 h 441959"/>
                <a:gd name="connsiteX8" fmla="*/ 696754 w 1266355"/>
                <a:gd name="connsiteY8" fmla="*/ 95 h 441959"/>
                <a:gd name="connsiteX9" fmla="*/ 567023 w 1266355"/>
                <a:gd name="connsiteY9" fmla="*/ 69913 h 441959"/>
                <a:gd name="connsiteX10" fmla="*/ 564547 w 1266355"/>
                <a:gd name="connsiteY10" fmla="*/ 69913 h 441959"/>
                <a:gd name="connsiteX11" fmla="*/ 564547 w 1266355"/>
                <a:gd name="connsiteY11" fmla="*/ 12478 h 441959"/>
                <a:gd name="connsiteX12" fmla="*/ 438721 w 1266355"/>
                <a:gd name="connsiteY12" fmla="*/ 12478 h 441959"/>
                <a:gd name="connsiteX13" fmla="*/ 438721 w 1266355"/>
                <a:gd name="connsiteY13" fmla="*/ 185547 h 441959"/>
                <a:gd name="connsiteX14" fmla="*/ 220789 w 1266355"/>
                <a:gd name="connsiteY14" fmla="*/ 381 h 441959"/>
                <a:gd name="connsiteX15" fmla="*/ 0 w 1266355"/>
                <a:gd name="connsiteY15" fmla="*/ 221170 h 441959"/>
                <a:gd name="connsiteX16" fmla="*/ 220789 w 1266355"/>
                <a:gd name="connsiteY16" fmla="*/ 441960 h 441959"/>
                <a:gd name="connsiteX17" fmla="*/ 438721 w 1266355"/>
                <a:gd name="connsiteY17" fmla="*/ 256794 h 441959"/>
                <a:gd name="connsiteX18" fmla="*/ 438721 w 1266355"/>
                <a:gd name="connsiteY18" fmla="*/ 428816 h 441959"/>
                <a:gd name="connsiteX19" fmla="*/ 567499 w 1266355"/>
                <a:gd name="connsiteY19" fmla="*/ 428816 h 441959"/>
                <a:gd name="connsiteX20" fmla="*/ 567499 w 1266355"/>
                <a:gd name="connsiteY20" fmla="*/ 198501 h 441959"/>
                <a:gd name="connsiteX21" fmla="*/ 643318 w 1266355"/>
                <a:gd name="connsiteY21" fmla="*/ 107918 h 441959"/>
                <a:gd name="connsiteX22" fmla="*/ 710946 w 1266355"/>
                <a:gd name="connsiteY22" fmla="*/ 184594 h 441959"/>
                <a:gd name="connsiteX23" fmla="*/ 710946 w 1266355"/>
                <a:gd name="connsiteY23" fmla="*/ 428911 h 441959"/>
                <a:gd name="connsiteX24" fmla="*/ 839724 w 1266355"/>
                <a:gd name="connsiteY24" fmla="*/ 428911 h 441959"/>
                <a:gd name="connsiteX25" fmla="*/ 839724 w 1266355"/>
                <a:gd name="connsiteY25" fmla="*/ 259842 h 441959"/>
                <a:gd name="connsiteX26" fmla="*/ 1058989 w 1266355"/>
                <a:gd name="connsiteY26" fmla="*/ 441198 h 441959"/>
                <a:gd name="connsiteX27" fmla="*/ 1189196 w 1266355"/>
                <a:gd name="connsiteY27" fmla="*/ 403003 h 441959"/>
                <a:gd name="connsiteX28" fmla="*/ 1258443 w 1266355"/>
                <a:gd name="connsiteY28" fmla="*/ 307181 h 441959"/>
                <a:gd name="connsiteX29" fmla="*/ 1131665 w 1266355"/>
                <a:gd name="connsiteY29" fmla="*/ 307181 h 441959"/>
                <a:gd name="connsiteX30" fmla="*/ 1060609 w 1266355"/>
                <a:gd name="connsiteY30" fmla="*/ 348996 h 441959"/>
                <a:gd name="connsiteX31" fmla="*/ 1053179 w 1266355"/>
                <a:gd name="connsiteY31" fmla="*/ 91440 h 441959"/>
                <a:gd name="connsiteX32" fmla="*/ 1134427 w 1266355"/>
                <a:gd name="connsiteY32" fmla="*/ 173355 h 441959"/>
                <a:gd name="connsiteX33" fmla="*/ 965359 w 1266355"/>
                <a:gd name="connsiteY33" fmla="*/ 173355 h 441959"/>
                <a:gd name="connsiteX34" fmla="*/ 1053084 w 1266355"/>
                <a:gd name="connsiteY34" fmla="*/ 91440 h 44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66355" h="441959">
                  <a:moveTo>
                    <a:pt x="1060514" y="348805"/>
                  </a:moveTo>
                  <a:cubicBezTo>
                    <a:pt x="1007173" y="348805"/>
                    <a:pt x="972979" y="315563"/>
                    <a:pt x="964216" y="255175"/>
                  </a:cubicBezTo>
                  <a:lnTo>
                    <a:pt x="963930" y="252984"/>
                  </a:lnTo>
                  <a:lnTo>
                    <a:pt x="1266349" y="252984"/>
                  </a:lnTo>
                  <a:cubicBezTo>
                    <a:pt x="1266825" y="167068"/>
                    <a:pt x="1240822" y="95726"/>
                    <a:pt x="1193101" y="52006"/>
                  </a:cubicBezTo>
                  <a:cubicBezTo>
                    <a:pt x="1155097" y="17526"/>
                    <a:pt x="1107281" y="0"/>
                    <a:pt x="1050798" y="0"/>
                  </a:cubicBezTo>
                  <a:cubicBezTo>
                    <a:pt x="939737" y="0"/>
                    <a:pt x="856012" y="74200"/>
                    <a:pt x="839819" y="181165"/>
                  </a:cubicBezTo>
                  <a:lnTo>
                    <a:pt x="839819" y="157353"/>
                  </a:lnTo>
                  <a:cubicBezTo>
                    <a:pt x="839819" y="61817"/>
                    <a:pt x="784384" y="95"/>
                    <a:pt x="696754" y="95"/>
                  </a:cubicBezTo>
                  <a:cubicBezTo>
                    <a:pt x="638461" y="95"/>
                    <a:pt x="598265" y="24670"/>
                    <a:pt x="567023" y="69913"/>
                  </a:cubicBezTo>
                  <a:lnTo>
                    <a:pt x="564547" y="69913"/>
                  </a:lnTo>
                  <a:lnTo>
                    <a:pt x="564547" y="12478"/>
                  </a:lnTo>
                  <a:lnTo>
                    <a:pt x="438721" y="12478"/>
                  </a:lnTo>
                  <a:lnTo>
                    <a:pt x="438721" y="185547"/>
                  </a:lnTo>
                  <a:cubicBezTo>
                    <a:pt x="421576" y="80677"/>
                    <a:pt x="330422" y="381"/>
                    <a:pt x="220789" y="381"/>
                  </a:cubicBezTo>
                  <a:cubicBezTo>
                    <a:pt x="99060" y="381"/>
                    <a:pt x="0" y="99441"/>
                    <a:pt x="0" y="221170"/>
                  </a:cubicBezTo>
                  <a:cubicBezTo>
                    <a:pt x="0" y="342900"/>
                    <a:pt x="99060" y="441960"/>
                    <a:pt x="220789" y="441960"/>
                  </a:cubicBezTo>
                  <a:cubicBezTo>
                    <a:pt x="330422" y="441960"/>
                    <a:pt x="421576" y="361664"/>
                    <a:pt x="438721" y="256794"/>
                  </a:cubicBezTo>
                  <a:lnTo>
                    <a:pt x="438721" y="428816"/>
                  </a:lnTo>
                  <a:lnTo>
                    <a:pt x="567499" y="428816"/>
                  </a:lnTo>
                  <a:lnTo>
                    <a:pt x="567499" y="198501"/>
                  </a:lnTo>
                  <a:cubicBezTo>
                    <a:pt x="567499" y="145161"/>
                    <a:pt x="598646" y="107918"/>
                    <a:pt x="643318" y="107918"/>
                  </a:cubicBezTo>
                  <a:cubicBezTo>
                    <a:pt x="685705" y="107918"/>
                    <a:pt x="710946" y="136588"/>
                    <a:pt x="710946" y="184594"/>
                  </a:cubicBezTo>
                  <a:lnTo>
                    <a:pt x="710946" y="428911"/>
                  </a:lnTo>
                  <a:lnTo>
                    <a:pt x="839724" y="428911"/>
                  </a:lnTo>
                  <a:lnTo>
                    <a:pt x="839724" y="259842"/>
                  </a:lnTo>
                  <a:cubicBezTo>
                    <a:pt x="856012" y="369856"/>
                    <a:pt x="939927" y="441198"/>
                    <a:pt x="1058989" y="441198"/>
                  </a:cubicBezTo>
                  <a:cubicBezTo>
                    <a:pt x="1109758" y="441198"/>
                    <a:pt x="1152334" y="428720"/>
                    <a:pt x="1189196" y="403003"/>
                  </a:cubicBezTo>
                  <a:cubicBezTo>
                    <a:pt x="1224248" y="378904"/>
                    <a:pt x="1248727" y="344900"/>
                    <a:pt x="1258443" y="307181"/>
                  </a:cubicBezTo>
                  <a:lnTo>
                    <a:pt x="1131665" y="307181"/>
                  </a:lnTo>
                  <a:cubicBezTo>
                    <a:pt x="1119188" y="334613"/>
                    <a:pt x="1094613" y="348996"/>
                    <a:pt x="1060609" y="348996"/>
                  </a:cubicBezTo>
                  <a:moveTo>
                    <a:pt x="1053179" y="91440"/>
                  </a:moveTo>
                  <a:cubicBezTo>
                    <a:pt x="1097089" y="91440"/>
                    <a:pt x="1128808" y="123539"/>
                    <a:pt x="1134427" y="173355"/>
                  </a:cubicBezTo>
                  <a:lnTo>
                    <a:pt x="965359" y="173355"/>
                  </a:lnTo>
                  <a:cubicBezTo>
                    <a:pt x="975741" y="119063"/>
                    <a:pt x="1005173" y="91440"/>
                    <a:pt x="1053084" y="91440"/>
                  </a:cubicBezTo>
                </a:path>
              </a:pathLst>
            </a:custGeom>
            <a:solidFill>
              <a:srgbClr val="000000"/>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BD7A9ED5-4A88-7657-9C6F-D1299D98A8FA}"/>
                </a:ext>
              </a:extLst>
            </p:cNvPr>
            <p:cNvSpPr/>
            <p:nvPr/>
          </p:nvSpPr>
          <p:spPr>
            <a:xfrm>
              <a:off x="3613784" y="2612136"/>
              <a:ext cx="51434" cy="58673"/>
            </a:xfrm>
            <a:custGeom>
              <a:avLst/>
              <a:gdLst>
                <a:gd name="connsiteX0" fmla="*/ 30385 w 51434"/>
                <a:gd name="connsiteY0" fmla="*/ 22098 h 58673"/>
                <a:gd name="connsiteX1" fmla="*/ 16764 w 51434"/>
                <a:gd name="connsiteY1" fmla="*/ 16002 h 58673"/>
                <a:gd name="connsiteX2" fmla="*/ 24955 w 51434"/>
                <a:gd name="connsiteY2" fmla="*/ 10382 h 58673"/>
                <a:gd name="connsiteX3" fmla="*/ 34290 w 51434"/>
                <a:gd name="connsiteY3" fmla="*/ 16288 h 58673"/>
                <a:gd name="connsiteX4" fmla="*/ 49435 w 51434"/>
                <a:gd name="connsiteY4" fmla="*/ 16288 h 58673"/>
                <a:gd name="connsiteX5" fmla="*/ 24860 w 51434"/>
                <a:gd name="connsiteY5" fmla="*/ 0 h 58673"/>
                <a:gd name="connsiteX6" fmla="*/ 1619 w 51434"/>
                <a:gd name="connsiteY6" fmla="*/ 17240 h 58673"/>
                <a:gd name="connsiteX7" fmla="*/ 21431 w 51434"/>
                <a:gd name="connsiteY7" fmla="*/ 34480 h 58673"/>
                <a:gd name="connsiteX8" fmla="*/ 35719 w 51434"/>
                <a:gd name="connsiteY8" fmla="*/ 41529 h 58673"/>
                <a:gd name="connsiteX9" fmla="*/ 26575 w 51434"/>
                <a:gd name="connsiteY9" fmla="*/ 47911 h 58673"/>
                <a:gd name="connsiteX10" fmla="*/ 15335 w 51434"/>
                <a:gd name="connsiteY10" fmla="*/ 39814 h 58673"/>
                <a:gd name="connsiteX11" fmla="*/ 0 w 51434"/>
                <a:gd name="connsiteY11" fmla="*/ 39814 h 58673"/>
                <a:gd name="connsiteX12" fmla="*/ 26479 w 51434"/>
                <a:gd name="connsiteY12" fmla="*/ 58674 h 58673"/>
                <a:gd name="connsiteX13" fmla="*/ 51435 w 51434"/>
                <a:gd name="connsiteY13" fmla="*/ 40481 h 58673"/>
                <a:gd name="connsiteX14" fmla="*/ 30289 w 51434"/>
                <a:gd name="connsiteY14" fmla="*/ 22193 h 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434" h="58673">
                  <a:moveTo>
                    <a:pt x="30385" y="22098"/>
                  </a:moveTo>
                  <a:cubicBezTo>
                    <a:pt x="22765" y="20764"/>
                    <a:pt x="16764" y="20098"/>
                    <a:pt x="16764" y="16002"/>
                  </a:cubicBezTo>
                  <a:cubicBezTo>
                    <a:pt x="16764" y="12478"/>
                    <a:pt x="20003" y="10382"/>
                    <a:pt x="24955" y="10382"/>
                  </a:cubicBezTo>
                  <a:cubicBezTo>
                    <a:pt x="29909" y="10382"/>
                    <a:pt x="33242" y="12382"/>
                    <a:pt x="34290" y="16288"/>
                  </a:cubicBezTo>
                  <a:lnTo>
                    <a:pt x="49435" y="16288"/>
                  </a:lnTo>
                  <a:cubicBezTo>
                    <a:pt x="48006" y="6667"/>
                    <a:pt x="40291" y="0"/>
                    <a:pt x="24860" y="0"/>
                  </a:cubicBezTo>
                  <a:cubicBezTo>
                    <a:pt x="11906" y="0"/>
                    <a:pt x="1619" y="5905"/>
                    <a:pt x="1619" y="17240"/>
                  </a:cubicBezTo>
                  <a:cubicBezTo>
                    <a:pt x="1619" y="30099"/>
                    <a:pt x="11621" y="32575"/>
                    <a:pt x="21431" y="34480"/>
                  </a:cubicBezTo>
                  <a:cubicBezTo>
                    <a:pt x="29146" y="35909"/>
                    <a:pt x="35719" y="36576"/>
                    <a:pt x="35719" y="41529"/>
                  </a:cubicBezTo>
                  <a:cubicBezTo>
                    <a:pt x="35719" y="45529"/>
                    <a:pt x="32385" y="47911"/>
                    <a:pt x="26575" y="47911"/>
                  </a:cubicBezTo>
                  <a:cubicBezTo>
                    <a:pt x="20193" y="47911"/>
                    <a:pt x="16288" y="44958"/>
                    <a:pt x="15335" y="39814"/>
                  </a:cubicBezTo>
                  <a:lnTo>
                    <a:pt x="0" y="39814"/>
                  </a:lnTo>
                  <a:cubicBezTo>
                    <a:pt x="857" y="50959"/>
                    <a:pt x="10478" y="58674"/>
                    <a:pt x="26479" y="58674"/>
                  </a:cubicBezTo>
                  <a:cubicBezTo>
                    <a:pt x="40862" y="58674"/>
                    <a:pt x="51435" y="52483"/>
                    <a:pt x="51435" y="40481"/>
                  </a:cubicBezTo>
                  <a:cubicBezTo>
                    <a:pt x="51435" y="26575"/>
                    <a:pt x="40196" y="23908"/>
                    <a:pt x="30289" y="22193"/>
                  </a:cubicBezTo>
                </a:path>
              </a:pathLst>
            </a:custGeom>
            <a:solidFill>
              <a:srgbClr val="FFFFFF"/>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19979938-9B4C-577A-3ED1-01635358A3F8}"/>
                </a:ext>
              </a:extLst>
            </p:cNvPr>
            <p:cNvSpPr/>
            <p:nvPr/>
          </p:nvSpPr>
          <p:spPr>
            <a:xfrm>
              <a:off x="3666553" y="2612040"/>
              <a:ext cx="58483" cy="58674"/>
            </a:xfrm>
            <a:custGeom>
              <a:avLst/>
              <a:gdLst>
                <a:gd name="connsiteX0" fmla="*/ 29337 w 58483"/>
                <a:gd name="connsiteY0" fmla="*/ 0 h 58674"/>
                <a:gd name="connsiteX1" fmla="*/ 0 w 58483"/>
                <a:gd name="connsiteY1" fmla="*/ 29337 h 58674"/>
                <a:gd name="connsiteX2" fmla="*/ 29337 w 58483"/>
                <a:gd name="connsiteY2" fmla="*/ 58674 h 58674"/>
                <a:gd name="connsiteX3" fmla="*/ 58483 w 58483"/>
                <a:gd name="connsiteY3" fmla="*/ 29337 h 58674"/>
                <a:gd name="connsiteX4" fmla="*/ 29337 w 58483"/>
                <a:gd name="connsiteY4" fmla="*/ 0 h 58674"/>
                <a:gd name="connsiteX5" fmla="*/ 29242 w 58483"/>
                <a:gd name="connsiteY5" fmla="*/ 46768 h 58674"/>
                <a:gd name="connsiteX6" fmla="*/ 16573 w 58483"/>
                <a:gd name="connsiteY6" fmla="*/ 29337 h 58674"/>
                <a:gd name="connsiteX7" fmla="*/ 29242 w 58483"/>
                <a:gd name="connsiteY7" fmla="*/ 11621 h 58674"/>
                <a:gd name="connsiteX8" fmla="*/ 41910 w 58483"/>
                <a:gd name="connsiteY8" fmla="*/ 29337 h 58674"/>
                <a:gd name="connsiteX9" fmla="*/ 29242 w 58483"/>
                <a:gd name="connsiteY9" fmla="*/ 46768 h 5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83" h="58674">
                  <a:moveTo>
                    <a:pt x="29337" y="0"/>
                  </a:moveTo>
                  <a:cubicBezTo>
                    <a:pt x="11621" y="0"/>
                    <a:pt x="0" y="12668"/>
                    <a:pt x="0" y="29337"/>
                  </a:cubicBezTo>
                  <a:cubicBezTo>
                    <a:pt x="0" y="46006"/>
                    <a:pt x="11621" y="58674"/>
                    <a:pt x="29337" y="58674"/>
                  </a:cubicBezTo>
                  <a:cubicBezTo>
                    <a:pt x="47054" y="58674"/>
                    <a:pt x="58483" y="45911"/>
                    <a:pt x="58483" y="29337"/>
                  </a:cubicBezTo>
                  <a:cubicBezTo>
                    <a:pt x="58483" y="12764"/>
                    <a:pt x="46958" y="0"/>
                    <a:pt x="29337" y="0"/>
                  </a:cubicBezTo>
                  <a:moveTo>
                    <a:pt x="29242" y="46768"/>
                  </a:moveTo>
                  <a:cubicBezTo>
                    <a:pt x="20955" y="46768"/>
                    <a:pt x="16573" y="39719"/>
                    <a:pt x="16573" y="29337"/>
                  </a:cubicBezTo>
                  <a:cubicBezTo>
                    <a:pt x="16573" y="18955"/>
                    <a:pt x="20955" y="11621"/>
                    <a:pt x="29242" y="11621"/>
                  </a:cubicBezTo>
                  <a:cubicBezTo>
                    <a:pt x="37529" y="11621"/>
                    <a:pt x="41910" y="18764"/>
                    <a:pt x="41910" y="29337"/>
                  </a:cubicBezTo>
                  <a:cubicBezTo>
                    <a:pt x="41910" y="39910"/>
                    <a:pt x="37338" y="46768"/>
                    <a:pt x="29242" y="46768"/>
                  </a:cubicBezTo>
                </a:path>
              </a:pathLst>
            </a:custGeom>
            <a:solidFill>
              <a:srgbClr val="FFFFFF"/>
            </a:solidFill>
            <a:ln w="9525"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61354202-79F9-CFDC-14A4-E7999C307A07}"/>
                </a:ext>
              </a:extLst>
            </p:cNvPr>
            <p:cNvSpPr/>
            <p:nvPr/>
          </p:nvSpPr>
          <p:spPr>
            <a:xfrm>
              <a:off x="3723036" y="2591556"/>
              <a:ext cx="151257" cy="78014"/>
            </a:xfrm>
            <a:custGeom>
              <a:avLst/>
              <a:gdLst>
                <a:gd name="connsiteX0" fmla="*/ 135255 w 151257"/>
                <a:gd name="connsiteY0" fmla="*/ 22008 h 78014"/>
                <a:gd name="connsiteX1" fmla="*/ 129350 w 151257"/>
                <a:gd name="connsiteY1" fmla="*/ 43534 h 78014"/>
                <a:gd name="connsiteX2" fmla="*/ 126016 w 151257"/>
                <a:gd name="connsiteY2" fmla="*/ 60775 h 78014"/>
                <a:gd name="connsiteX3" fmla="*/ 125825 w 151257"/>
                <a:gd name="connsiteY3" fmla="*/ 60775 h 78014"/>
                <a:gd name="connsiteX4" fmla="*/ 122206 w 151257"/>
                <a:gd name="connsiteY4" fmla="*/ 43344 h 78014"/>
                <a:gd name="connsiteX5" fmla="*/ 116396 w 151257"/>
                <a:gd name="connsiteY5" fmla="*/ 22008 h 78014"/>
                <a:gd name="connsiteX6" fmla="*/ 102584 w 151257"/>
                <a:gd name="connsiteY6" fmla="*/ 22008 h 78014"/>
                <a:gd name="connsiteX7" fmla="*/ 96964 w 151257"/>
                <a:gd name="connsiteY7" fmla="*/ 43344 h 78014"/>
                <a:gd name="connsiteX8" fmla="*/ 93440 w 151257"/>
                <a:gd name="connsiteY8" fmla="*/ 60679 h 78014"/>
                <a:gd name="connsiteX9" fmla="*/ 93250 w 151257"/>
                <a:gd name="connsiteY9" fmla="*/ 60679 h 78014"/>
                <a:gd name="connsiteX10" fmla="*/ 90011 w 151257"/>
                <a:gd name="connsiteY10" fmla="*/ 43534 h 78014"/>
                <a:gd name="connsiteX11" fmla="*/ 84201 w 151257"/>
                <a:gd name="connsiteY11" fmla="*/ 22008 h 78014"/>
                <a:gd name="connsiteX12" fmla="*/ 59436 w 151257"/>
                <a:gd name="connsiteY12" fmla="*/ 22008 h 78014"/>
                <a:gd name="connsiteX13" fmla="*/ 59436 w 151257"/>
                <a:gd name="connsiteY13" fmla="*/ 4291 h 78014"/>
                <a:gd name="connsiteX14" fmla="*/ 43434 w 151257"/>
                <a:gd name="connsiteY14" fmla="*/ 4291 h 78014"/>
                <a:gd name="connsiteX15" fmla="*/ 43434 w 151257"/>
                <a:gd name="connsiteY15" fmla="*/ 22008 h 78014"/>
                <a:gd name="connsiteX16" fmla="*/ 24670 w 151257"/>
                <a:gd name="connsiteY16" fmla="*/ 22008 h 78014"/>
                <a:gd name="connsiteX17" fmla="*/ 24670 w 151257"/>
                <a:gd name="connsiteY17" fmla="*/ 18484 h 78014"/>
                <a:gd name="connsiteX18" fmla="*/ 36195 w 151257"/>
                <a:gd name="connsiteY18" fmla="*/ 12007 h 78014"/>
                <a:gd name="connsiteX19" fmla="*/ 36195 w 151257"/>
                <a:gd name="connsiteY19" fmla="*/ 386 h 78014"/>
                <a:gd name="connsiteX20" fmla="*/ 29432 w 151257"/>
                <a:gd name="connsiteY20" fmla="*/ 5 h 78014"/>
                <a:gd name="connsiteX21" fmla="*/ 12954 w 151257"/>
                <a:gd name="connsiteY21" fmla="*/ 4386 h 78014"/>
                <a:gd name="connsiteX22" fmla="*/ 8287 w 151257"/>
                <a:gd name="connsiteY22" fmla="*/ 17340 h 78014"/>
                <a:gd name="connsiteX23" fmla="*/ 8287 w 151257"/>
                <a:gd name="connsiteY23" fmla="*/ 22008 h 78014"/>
                <a:gd name="connsiteX24" fmla="*/ 0 w 151257"/>
                <a:gd name="connsiteY24" fmla="*/ 22008 h 78014"/>
                <a:gd name="connsiteX25" fmla="*/ 0 w 151257"/>
                <a:gd name="connsiteY25" fmla="*/ 33438 h 78014"/>
                <a:gd name="connsiteX26" fmla="*/ 8287 w 151257"/>
                <a:gd name="connsiteY26" fmla="*/ 33438 h 78014"/>
                <a:gd name="connsiteX27" fmla="*/ 8287 w 151257"/>
                <a:gd name="connsiteY27" fmla="*/ 77348 h 78014"/>
                <a:gd name="connsiteX28" fmla="*/ 24575 w 151257"/>
                <a:gd name="connsiteY28" fmla="*/ 77348 h 78014"/>
                <a:gd name="connsiteX29" fmla="*/ 24575 w 151257"/>
                <a:gd name="connsiteY29" fmla="*/ 33438 h 78014"/>
                <a:gd name="connsiteX30" fmla="*/ 43339 w 151257"/>
                <a:gd name="connsiteY30" fmla="*/ 33438 h 78014"/>
                <a:gd name="connsiteX31" fmla="*/ 43339 w 151257"/>
                <a:gd name="connsiteY31" fmla="*/ 63442 h 78014"/>
                <a:gd name="connsiteX32" fmla="*/ 60579 w 151257"/>
                <a:gd name="connsiteY32" fmla="*/ 78015 h 78014"/>
                <a:gd name="connsiteX33" fmla="*/ 70009 w 151257"/>
                <a:gd name="connsiteY33" fmla="*/ 77157 h 78014"/>
                <a:gd name="connsiteX34" fmla="*/ 70009 w 151257"/>
                <a:gd name="connsiteY34" fmla="*/ 64965 h 78014"/>
                <a:gd name="connsiteX35" fmla="*/ 69152 w 151257"/>
                <a:gd name="connsiteY35" fmla="*/ 64965 h 78014"/>
                <a:gd name="connsiteX36" fmla="*/ 65437 w 151257"/>
                <a:gd name="connsiteY36" fmla="*/ 65156 h 78014"/>
                <a:gd name="connsiteX37" fmla="*/ 59341 w 151257"/>
                <a:gd name="connsiteY37" fmla="*/ 59822 h 78014"/>
                <a:gd name="connsiteX38" fmla="*/ 59341 w 151257"/>
                <a:gd name="connsiteY38" fmla="*/ 33438 h 78014"/>
                <a:gd name="connsiteX39" fmla="*/ 70961 w 151257"/>
                <a:gd name="connsiteY39" fmla="*/ 33438 h 78014"/>
                <a:gd name="connsiteX40" fmla="*/ 84487 w 151257"/>
                <a:gd name="connsiteY40" fmla="*/ 77348 h 78014"/>
                <a:gd name="connsiteX41" fmla="*/ 99631 w 151257"/>
                <a:gd name="connsiteY41" fmla="*/ 77348 h 78014"/>
                <a:gd name="connsiteX42" fmla="*/ 105632 w 151257"/>
                <a:gd name="connsiteY42" fmla="*/ 54774 h 78014"/>
                <a:gd name="connsiteX43" fmla="*/ 109252 w 151257"/>
                <a:gd name="connsiteY43" fmla="*/ 37819 h 78014"/>
                <a:gd name="connsiteX44" fmla="*/ 109442 w 151257"/>
                <a:gd name="connsiteY44" fmla="*/ 37819 h 78014"/>
                <a:gd name="connsiteX45" fmla="*/ 112871 w 151257"/>
                <a:gd name="connsiteY45" fmla="*/ 54774 h 78014"/>
                <a:gd name="connsiteX46" fmla="*/ 118681 w 151257"/>
                <a:gd name="connsiteY46" fmla="*/ 77348 h 78014"/>
                <a:gd name="connsiteX47" fmla="*/ 134112 w 151257"/>
                <a:gd name="connsiteY47" fmla="*/ 77348 h 78014"/>
                <a:gd name="connsiteX48" fmla="*/ 151257 w 151257"/>
                <a:gd name="connsiteY48" fmla="*/ 22008 h 78014"/>
                <a:gd name="connsiteX49" fmla="*/ 135160 w 151257"/>
                <a:gd name="connsiteY49" fmla="*/ 22008 h 7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1257" h="78014">
                  <a:moveTo>
                    <a:pt x="135255" y="22008"/>
                  </a:moveTo>
                  <a:lnTo>
                    <a:pt x="129350" y="43534"/>
                  </a:lnTo>
                  <a:cubicBezTo>
                    <a:pt x="127445" y="50202"/>
                    <a:pt x="126016" y="60775"/>
                    <a:pt x="126016" y="60775"/>
                  </a:cubicBezTo>
                  <a:lnTo>
                    <a:pt x="125825" y="60775"/>
                  </a:lnTo>
                  <a:cubicBezTo>
                    <a:pt x="125825" y="60775"/>
                    <a:pt x="124016" y="49916"/>
                    <a:pt x="122206" y="43344"/>
                  </a:cubicBezTo>
                  <a:lnTo>
                    <a:pt x="116396" y="22008"/>
                  </a:lnTo>
                  <a:lnTo>
                    <a:pt x="102584" y="22008"/>
                  </a:lnTo>
                  <a:lnTo>
                    <a:pt x="96964" y="43344"/>
                  </a:lnTo>
                  <a:cubicBezTo>
                    <a:pt x="95250" y="50011"/>
                    <a:pt x="93440" y="60679"/>
                    <a:pt x="93440" y="60679"/>
                  </a:cubicBezTo>
                  <a:lnTo>
                    <a:pt x="93250" y="60679"/>
                  </a:lnTo>
                  <a:cubicBezTo>
                    <a:pt x="93250" y="60679"/>
                    <a:pt x="91821" y="50107"/>
                    <a:pt x="90011" y="43534"/>
                  </a:cubicBezTo>
                  <a:lnTo>
                    <a:pt x="84201" y="22008"/>
                  </a:lnTo>
                  <a:lnTo>
                    <a:pt x="59436" y="22008"/>
                  </a:lnTo>
                  <a:lnTo>
                    <a:pt x="59436" y="4291"/>
                  </a:lnTo>
                  <a:lnTo>
                    <a:pt x="43434" y="4291"/>
                  </a:lnTo>
                  <a:lnTo>
                    <a:pt x="43434" y="22008"/>
                  </a:lnTo>
                  <a:lnTo>
                    <a:pt x="24670" y="22008"/>
                  </a:lnTo>
                  <a:lnTo>
                    <a:pt x="24670" y="18484"/>
                  </a:lnTo>
                  <a:cubicBezTo>
                    <a:pt x="24670" y="12292"/>
                    <a:pt x="28004" y="11721"/>
                    <a:pt x="36195" y="12007"/>
                  </a:cubicBezTo>
                  <a:lnTo>
                    <a:pt x="36195" y="386"/>
                  </a:lnTo>
                  <a:cubicBezTo>
                    <a:pt x="33909" y="100"/>
                    <a:pt x="31623" y="5"/>
                    <a:pt x="29432" y="5"/>
                  </a:cubicBezTo>
                  <a:cubicBezTo>
                    <a:pt x="22384" y="-90"/>
                    <a:pt x="16669" y="1148"/>
                    <a:pt x="12954" y="4386"/>
                  </a:cubicBezTo>
                  <a:cubicBezTo>
                    <a:pt x="9716" y="7339"/>
                    <a:pt x="8287" y="11435"/>
                    <a:pt x="8287" y="17340"/>
                  </a:cubicBezTo>
                  <a:lnTo>
                    <a:pt x="8287" y="22008"/>
                  </a:lnTo>
                  <a:lnTo>
                    <a:pt x="0" y="22008"/>
                  </a:lnTo>
                  <a:lnTo>
                    <a:pt x="0" y="33438"/>
                  </a:lnTo>
                  <a:lnTo>
                    <a:pt x="8287" y="33438"/>
                  </a:lnTo>
                  <a:lnTo>
                    <a:pt x="8287" y="77348"/>
                  </a:lnTo>
                  <a:lnTo>
                    <a:pt x="24575" y="77348"/>
                  </a:lnTo>
                  <a:lnTo>
                    <a:pt x="24575" y="33438"/>
                  </a:lnTo>
                  <a:lnTo>
                    <a:pt x="43339" y="33438"/>
                  </a:lnTo>
                  <a:lnTo>
                    <a:pt x="43339" y="63442"/>
                  </a:lnTo>
                  <a:cubicBezTo>
                    <a:pt x="43339" y="74681"/>
                    <a:pt x="50292" y="78015"/>
                    <a:pt x="60579" y="78015"/>
                  </a:cubicBezTo>
                  <a:cubicBezTo>
                    <a:pt x="64961" y="78015"/>
                    <a:pt x="68294" y="77539"/>
                    <a:pt x="70009" y="77157"/>
                  </a:cubicBezTo>
                  <a:lnTo>
                    <a:pt x="70009" y="64965"/>
                  </a:lnTo>
                  <a:lnTo>
                    <a:pt x="69152" y="64965"/>
                  </a:lnTo>
                  <a:cubicBezTo>
                    <a:pt x="68104" y="65061"/>
                    <a:pt x="66485" y="65156"/>
                    <a:pt x="65437" y="65156"/>
                  </a:cubicBezTo>
                  <a:cubicBezTo>
                    <a:pt x="61627" y="65156"/>
                    <a:pt x="59341" y="64013"/>
                    <a:pt x="59341" y="59822"/>
                  </a:cubicBezTo>
                  <a:lnTo>
                    <a:pt x="59341" y="33438"/>
                  </a:lnTo>
                  <a:lnTo>
                    <a:pt x="70961" y="33438"/>
                  </a:lnTo>
                  <a:lnTo>
                    <a:pt x="84487" y="77348"/>
                  </a:lnTo>
                  <a:lnTo>
                    <a:pt x="99631" y="77348"/>
                  </a:lnTo>
                  <a:lnTo>
                    <a:pt x="105632" y="54774"/>
                  </a:lnTo>
                  <a:cubicBezTo>
                    <a:pt x="107252" y="48392"/>
                    <a:pt x="109252" y="37819"/>
                    <a:pt x="109252" y="37819"/>
                  </a:cubicBezTo>
                  <a:lnTo>
                    <a:pt x="109442" y="37819"/>
                  </a:lnTo>
                  <a:cubicBezTo>
                    <a:pt x="109442" y="37819"/>
                    <a:pt x="111252" y="48487"/>
                    <a:pt x="112871" y="54774"/>
                  </a:cubicBezTo>
                  <a:lnTo>
                    <a:pt x="118681" y="77348"/>
                  </a:lnTo>
                  <a:lnTo>
                    <a:pt x="134112" y="77348"/>
                  </a:lnTo>
                  <a:lnTo>
                    <a:pt x="151257" y="22008"/>
                  </a:lnTo>
                  <a:lnTo>
                    <a:pt x="135160" y="22008"/>
                  </a:lnTo>
                  <a:close/>
                </a:path>
              </a:pathLst>
            </a:custGeom>
            <a:solidFill>
              <a:srgbClr val="FFFFFF"/>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4EEE118A-A263-3D81-5FE5-94001E6B2057}"/>
                </a:ext>
              </a:extLst>
            </p:cNvPr>
            <p:cNvSpPr/>
            <p:nvPr/>
          </p:nvSpPr>
          <p:spPr>
            <a:xfrm>
              <a:off x="3870769" y="2612040"/>
              <a:ext cx="54292" cy="58388"/>
            </a:xfrm>
            <a:custGeom>
              <a:avLst/>
              <a:gdLst>
                <a:gd name="connsiteX0" fmla="*/ 54197 w 54292"/>
                <a:gd name="connsiteY0" fmla="*/ 56864 h 58388"/>
                <a:gd name="connsiteX1" fmla="*/ 51530 w 54292"/>
                <a:gd name="connsiteY1" fmla="*/ 48196 h 58388"/>
                <a:gd name="connsiteX2" fmla="*/ 51530 w 54292"/>
                <a:gd name="connsiteY2" fmla="*/ 19812 h 58388"/>
                <a:gd name="connsiteX3" fmla="*/ 43148 w 54292"/>
                <a:gd name="connsiteY3" fmla="*/ 3334 h 58388"/>
                <a:gd name="connsiteX4" fmla="*/ 27241 w 54292"/>
                <a:gd name="connsiteY4" fmla="*/ 0 h 58388"/>
                <a:gd name="connsiteX5" fmla="*/ 2667 w 54292"/>
                <a:gd name="connsiteY5" fmla="*/ 18288 h 58388"/>
                <a:gd name="connsiteX6" fmla="*/ 17716 w 54292"/>
                <a:gd name="connsiteY6" fmla="*/ 18288 h 58388"/>
                <a:gd name="connsiteX7" fmla="*/ 27432 w 54292"/>
                <a:gd name="connsiteY7" fmla="*/ 11049 h 58388"/>
                <a:gd name="connsiteX8" fmla="*/ 35623 w 54292"/>
                <a:gd name="connsiteY8" fmla="*/ 17717 h 58388"/>
                <a:gd name="connsiteX9" fmla="*/ 21717 w 54292"/>
                <a:gd name="connsiteY9" fmla="*/ 24765 h 58388"/>
                <a:gd name="connsiteX10" fmla="*/ 0 w 54292"/>
                <a:gd name="connsiteY10" fmla="*/ 41624 h 58388"/>
                <a:gd name="connsiteX11" fmla="*/ 18955 w 54292"/>
                <a:gd name="connsiteY11" fmla="*/ 58388 h 58388"/>
                <a:gd name="connsiteX12" fmla="*/ 35909 w 54292"/>
                <a:gd name="connsiteY12" fmla="*/ 50197 h 58388"/>
                <a:gd name="connsiteX13" fmla="*/ 37814 w 54292"/>
                <a:gd name="connsiteY13" fmla="*/ 56960 h 58388"/>
                <a:gd name="connsiteX14" fmla="*/ 54292 w 54292"/>
                <a:gd name="connsiteY14" fmla="*/ 56960 h 58388"/>
                <a:gd name="connsiteX15" fmla="*/ 36004 w 54292"/>
                <a:gd name="connsiteY15" fmla="*/ 36957 h 58388"/>
                <a:gd name="connsiteX16" fmla="*/ 23908 w 54292"/>
                <a:gd name="connsiteY16" fmla="*/ 47530 h 58388"/>
                <a:gd name="connsiteX17" fmla="*/ 15812 w 54292"/>
                <a:gd name="connsiteY17" fmla="*/ 40958 h 58388"/>
                <a:gd name="connsiteX18" fmla="*/ 26384 w 54292"/>
                <a:gd name="connsiteY18" fmla="*/ 32861 h 58388"/>
                <a:gd name="connsiteX19" fmla="*/ 35909 w 54292"/>
                <a:gd name="connsiteY19" fmla="*/ 29718 h 58388"/>
                <a:gd name="connsiteX20" fmla="*/ 35909 w 54292"/>
                <a:gd name="connsiteY20" fmla="*/ 36862 h 5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292" h="58388">
                  <a:moveTo>
                    <a:pt x="54197" y="56864"/>
                  </a:moveTo>
                  <a:cubicBezTo>
                    <a:pt x="52578" y="55436"/>
                    <a:pt x="51530" y="52578"/>
                    <a:pt x="51530" y="48196"/>
                  </a:cubicBezTo>
                  <a:lnTo>
                    <a:pt x="51530" y="19812"/>
                  </a:lnTo>
                  <a:cubicBezTo>
                    <a:pt x="51530" y="12287"/>
                    <a:pt x="48863" y="6572"/>
                    <a:pt x="43148" y="3334"/>
                  </a:cubicBezTo>
                  <a:cubicBezTo>
                    <a:pt x="39338" y="1048"/>
                    <a:pt x="34290" y="0"/>
                    <a:pt x="27241" y="0"/>
                  </a:cubicBezTo>
                  <a:cubicBezTo>
                    <a:pt x="10858" y="0"/>
                    <a:pt x="3143" y="8858"/>
                    <a:pt x="2667" y="18288"/>
                  </a:cubicBezTo>
                  <a:lnTo>
                    <a:pt x="17716" y="18288"/>
                  </a:lnTo>
                  <a:cubicBezTo>
                    <a:pt x="18097" y="13907"/>
                    <a:pt x="21146" y="11049"/>
                    <a:pt x="27432" y="11049"/>
                  </a:cubicBezTo>
                  <a:cubicBezTo>
                    <a:pt x="33052" y="11049"/>
                    <a:pt x="35623" y="13716"/>
                    <a:pt x="35623" y="17717"/>
                  </a:cubicBezTo>
                  <a:cubicBezTo>
                    <a:pt x="35623" y="21908"/>
                    <a:pt x="31528" y="23432"/>
                    <a:pt x="21717" y="24765"/>
                  </a:cubicBezTo>
                  <a:cubicBezTo>
                    <a:pt x="9620" y="26194"/>
                    <a:pt x="0" y="29337"/>
                    <a:pt x="0" y="41624"/>
                  </a:cubicBezTo>
                  <a:cubicBezTo>
                    <a:pt x="0" y="52578"/>
                    <a:pt x="8001" y="58388"/>
                    <a:pt x="18955" y="58388"/>
                  </a:cubicBezTo>
                  <a:cubicBezTo>
                    <a:pt x="27527" y="58388"/>
                    <a:pt x="32290" y="55245"/>
                    <a:pt x="35909" y="50197"/>
                  </a:cubicBezTo>
                  <a:cubicBezTo>
                    <a:pt x="36195" y="53340"/>
                    <a:pt x="36957" y="55721"/>
                    <a:pt x="37814" y="56960"/>
                  </a:cubicBezTo>
                  <a:lnTo>
                    <a:pt x="54292" y="56960"/>
                  </a:lnTo>
                  <a:close/>
                  <a:moveTo>
                    <a:pt x="36004" y="36957"/>
                  </a:moveTo>
                  <a:cubicBezTo>
                    <a:pt x="36004" y="42958"/>
                    <a:pt x="31242" y="47530"/>
                    <a:pt x="23908" y="47530"/>
                  </a:cubicBezTo>
                  <a:cubicBezTo>
                    <a:pt x="19431" y="47530"/>
                    <a:pt x="15812" y="45815"/>
                    <a:pt x="15812" y="40958"/>
                  </a:cubicBezTo>
                  <a:cubicBezTo>
                    <a:pt x="15812" y="36100"/>
                    <a:pt x="19240" y="34385"/>
                    <a:pt x="26384" y="32861"/>
                  </a:cubicBezTo>
                  <a:cubicBezTo>
                    <a:pt x="30004" y="32004"/>
                    <a:pt x="33528" y="31242"/>
                    <a:pt x="35909" y="29718"/>
                  </a:cubicBezTo>
                  <a:lnTo>
                    <a:pt x="35909" y="36862"/>
                  </a:lnTo>
                  <a:close/>
                </a:path>
              </a:pathLst>
            </a:custGeom>
            <a:solidFill>
              <a:srgbClr val="FFFFFF"/>
            </a:solidFill>
            <a:ln w="9525"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CF4036BC-940D-2B77-BE68-FF9E9C15270E}"/>
                </a:ext>
              </a:extLst>
            </p:cNvPr>
            <p:cNvSpPr/>
            <p:nvPr/>
          </p:nvSpPr>
          <p:spPr>
            <a:xfrm>
              <a:off x="3929062" y="2612802"/>
              <a:ext cx="34861" cy="56197"/>
            </a:xfrm>
            <a:custGeom>
              <a:avLst/>
              <a:gdLst>
                <a:gd name="connsiteX0" fmla="*/ 34862 w 34861"/>
                <a:gd name="connsiteY0" fmla="*/ 14573 h 56197"/>
                <a:gd name="connsiteX1" fmla="*/ 34862 w 34861"/>
                <a:gd name="connsiteY1" fmla="*/ 381 h 56197"/>
                <a:gd name="connsiteX2" fmla="*/ 31432 w 34861"/>
                <a:gd name="connsiteY2" fmla="*/ 0 h 56197"/>
                <a:gd name="connsiteX3" fmla="*/ 16002 w 34861"/>
                <a:gd name="connsiteY3" fmla="*/ 10763 h 56197"/>
                <a:gd name="connsiteX4" fmla="*/ 15716 w 34861"/>
                <a:gd name="connsiteY4" fmla="*/ 10763 h 56197"/>
                <a:gd name="connsiteX5" fmla="*/ 15716 w 34861"/>
                <a:gd name="connsiteY5" fmla="*/ 857 h 56197"/>
                <a:gd name="connsiteX6" fmla="*/ 0 w 34861"/>
                <a:gd name="connsiteY6" fmla="*/ 857 h 56197"/>
                <a:gd name="connsiteX7" fmla="*/ 0 w 34861"/>
                <a:gd name="connsiteY7" fmla="*/ 56198 h 56197"/>
                <a:gd name="connsiteX8" fmla="*/ 16288 w 34861"/>
                <a:gd name="connsiteY8" fmla="*/ 56198 h 56197"/>
                <a:gd name="connsiteX9" fmla="*/ 16288 w 34861"/>
                <a:gd name="connsiteY9" fmla="*/ 30480 h 56197"/>
                <a:gd name="connsiteX10" fmla="*/ 30956 w 34861"/>
                <a:gd name="connsiteY10" fmla="*/ 14288 h 56197"/>
                <a:gd name="connsiteX11" fmla="*/ 34385 w 34861"/>
                <a:gd name="connsiteY11" fmla="*/ 14573 h 56197"/>
                <a:gd name="connsiteX12" fmla="*/ 34766 w 34861"/>
                <a:gd name="connsiteY12" fmla="*/ 14573 h 5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861" h="56197">
                  <a:moveTo>
                    <a:pt x="34862" y="14573"/>
                  </a:moveTo>
                  <a:lnTo>
                    <a:pt x="34862" y="381"/>
                  </a:lnTo>
                  <a:cubicBezTo>
                    <a:pt x="34099" y="95"/>
                    <a:pt x="32956" y="0"/>
                    <a:pt x="31432" y="0"/>
                  </a:cubicBezTo>
                  <a:cubicBezTo>
                    <a:pt x="24574" y="0"/>
                    <a:pt x="19621" y="3143"/>
                    <a:pt x="16002" y="10763"/>
                  </a:cubicBezTo>
                  <a:lnTo>
                    <a:pt x="15716" y="10763"/>
                  </a:lnTo>
                  <a:lnTo>
                    <a:pt x="15716" y="857"/>
                  </a:lnTo>
                  <a:lnTo>
                    <a:pt x="0" y="857"/>
                  </a:lnTo>
                  <a:lnTo>
                    <a:pt x="0" y="56198"/>
                  </a:lnTo>
                  <a:lnTo>
                    <a:pt x="16288" y="56198"/>
                  </a:lnTo>
                  <a:lnTo>
                    <a:pt x="16288" y="30480"/>
                  </a:lnTo>
                  <a:cubicBezTo>
                    <a:pt x="16288" y="19621"/>
                    <a:pt x="22098" y="14192"/>
                    <a:pt x="30956" y="14288"/>
                  </a:cubicBezTo>
                  <a:cubicBezTo>
                    <a:pt x="32099" y="14288"/>
                    <a:pt x="33242" y="14383"/>
                    <a:pt x="34385" y="14573"/>
                  </a:cubicBezTo>
                  <a:lnTo>
                    <a:pt x="34766" y="14573"/>
                  </a:lnTo>
                  <a:close/>
                </a:path>
              </a:pathLst>
            </a:custGeom>
            <a:solidFill>
              <a:srgbClr val="FFFFFF"/>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A12505F5-44C2-069B-A369-A32BF2C7E4BB}"/>
                </a:ext>
              </a:extLst>
            </p:cNvPr>
            <p:cNvSpPr/>
            <p:nvPr/>
          </p:nvSpPr>
          <p:spPr>
            <a:xfrm>
              <a:off x="3963352" y="2612040"/>
              <a:ext cx="56390" cy="58578"/>
            </a:xfrm>
            <a:custGeom>
              <a:avLst/>
              <a:gdLst>
                <a:gd name="connsiteX0" fmla="*/ 29528 w 56390"/>
                <a:gd name="connsiteY0" fmla="*/ 46673 h 58578"/>
                <a:gd name="connsiteX1" fmla="*/ 16097 w 56390"/>
                <a:gd name="connsiteY1" fmla="*/ 33338 h 58578"/>
                <a:gd name="connsiteX2" fmla="*/ 56388 w 56390"/>
                <a:gd name="connsiteY2" fmla="*/ 33338 h 58578"/>
                <a:gd name="connsiteX3" fmla="*/ 47434 w 56390"/>
                <a:gd name="connsiteY3" fmla="*/ 7049 h 58578"/>
                <a:gd name="connsiteX4" fmla="*/ 28384 w 56390"/>
                <a:gd name="connsiteY4" fmla="*/ 0 h 58578"/>
                <a:gd name="connsiteX5" fmla="*/ 0 w 56390"/>
                <a:gd name="connsiteY5" fmla="*/ 29337 h 58578"/>
                <a:gd name="connsiteX6" fmla="*/ 29242 w 56390"/>
                <a:gd name="connsiteY6" fmla="*/ 58579 h 58578"/>
                <a:gd name="connsiteX7" fmla="*/ 55340 w 56390"/>
                <a:gd name="connsiteY7" fmla="*/ 41339 h 58578"/>
                <a:gd name="connsiteX8" fmla="*/ 39529 w 56390"/>
                <a:gd name="connsiteY8" fmla="*/ 41339 h 58578"/>
                <a:gd name="connsiteX9" fmla="*/ 29432 w 56390"/>
                <a:gd name="connsiteY9" fmla="*/ 46768 h 58578"/>
                <a:gd name="connsiteX10" fmla="*/ 28384 w 56390"/>
                <a:gd name="connsiteY10" fmla="*/ 11621 h 58578"/>
                <a:gd name="connsiteX11" fmla="*/ 39719 w 56390"/>
                <a:gd name="connsiteY11" fmla="*/ 24003 h 58578"/>
                <a:gd name="connsiteX12" fmla="*/ 16097 w 56390"/>
                <a:gd name="connsiteY12" fmla="*/ 24003 h 58578"/>
                <a:gd name="connsiteX13" fmla="*/ 28384 w 56390"/>
                <a:gd name="connsiteY13" fmla="*/ 11621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390" h="58578">
                  <a:moveTo>
                    <a:pt x="29528" y="46673"/>
                  </a:moveTo>
                  <a:cubicBezTo>
                    <a:pt x="21622" y="46673"/>
                    <a:pt x="17145" y="41720"/>
                    <a:pt x="16097" y="33338"/>
                  </a:cubicBezTo>
                  <a:lnTo>
                    <a:pt x="56388" y="33338"/>
                  </a:lnTo>
                  <a:cubicBezTo>
                    <a:pt x="56483" y="22384"/>
                    <a:pt x="53721" y="13049"/>
                    <a:pt x="47434" y="7049"/>
                  </a:cubicBezTo>
                  <a:cubicBezTo>
                    <a:pt x="42577" y="2572"/>
                    <a:pt x="36290" y="0"/>
                    <a:pt x="28384" y="0"/>
                  </a:cubicBezTo>
                  <a:cubicBezTo>
                    <a:pt x="11525" y="0"/>
                    <a:pt x="0" y="12668"/>
                    <a:pt x="0" y="29337"/>
                  </a:cubicBezTo>
                  <a:cubicBezTo>
                    <a:pt x="0" y="46006"/>
                    <a:pt x="11144" y="58579"/>
                    <a:pt x="29242" y="58579"/>
                  </a:cubicBezTo>
                  <a:cubicBezTo>
                    <a:pt x="43529" y="58579"/>
                    <a:pt x="52578" y="51054"/>
                    <a:pt x="55340" y="41339"/>
                  </a:cubicBezTo>
                  <a:lnTo>
                    <a:pt x="39529" y="41339"/>
                  </a:lnTo>
                  <a:cubicBezTo>
                    <a:pt x="37719" y="44767"/>
                    <a:pt x="34576" y="46768"/>
                    <a:pt x="29432" y="46768"/>
                  </a:cubicBezTo>
                  <a:moveTo>
                    <a:pt x="28384" y="11621"/>
                  </a:moveTo>
                  <a:cubicBezTo>
                    <a:pt x="34862" y="11621"/>
                    <a:pt x="39148" y="16288"/>
                    <a:pt x="39719" y="24003"/>
                  </a:cubicBezTo>
                  <a:lnTo>
                    <a:pt x="16097" y="24003"/>
                  </a:lnTo>
                  <a:cubicBezTo>
                    <a:pt x="17145" y="16383"/>
                    <a:pt x="20860" y="11621"/>
                    <a:pt x="28384" y="11621"/>
                  </a:cubicBezTo>
                </a:path>
              </a:pathLst>
            </a:custGeom>
            <a:solidFill>
              <a:srgbClr val="FFFFFF"/>
            </a:solidFill>
            <a:ln w="9525" cap="flat">
              <a:noFill/>
              <a:prstDash val="solid"/>
              <a:miter/>
            </a:ln>
          </p:spPr>
          <p:txBody>
            <a:bodyPr rtlCol="0" anchor="ctr"/>
            <a:lstStyle/>
            <a:p>
              <a:endParaRPr lang="en-AU"/>
            </a:p>
          </p:txBody>
        </p:sp>
        <p:grpSp>
          <p:nvGrpSpPr>
            <p:cNvPr id="18" name="Graphic 8">
              <a:extLst>
                <a:ext uri="{FF2B5EF4-FFF2-40B4-BE49-F238E27FC236}">
                  <a16:creationId xmlns:a16="http://schemas.microsoft.com/office/drawing/2014/main" id="{C8AE0C25-A25F-CB3F-CA07-0103407EF9C2}"/>
                </a:ext>
              </a:extLst>
            </p:cNvPr>
            <p:cNvGrpSpPr/>
            <p:nvPr/>
          </p:nvGrpSpPr>
          <p:grpSpPr>
            <a:xfrm>
              <a:off x="1929860" y="2273236"/>
              <a:ext cx="3123819" cy="589407"/>
              <a:chOff x="1929860" y="2273236"/>
              <a:chExt cx="3123819" cy="589407"/>
            </a:xfrm>
            <a:solidFill>
              <a:srgbClr val="000000"/>
            </a:solidFill>
          </p:grpSpPr>
          <p:sp>
            <p:nvSpPr>
              <p:cNvPr id="19" name="Freeform: Shape 18">
                <a:extLst>
                  <a:ext uri="{FF2B5EF4-FFF2-40B4-BE49-F238E27FC236}">
                    <a16:creationId xmlns:a16="http://schemas.microsoft.com/office/drawing/2014/main" id="{88DF0D13-DFE3-7048-8829-69EFA27C3F9E}"/>
                  </a:ext>
                </a:extLst>
              </p:cNvPr>
              <p:cNvSpPr/>
              <p:nvPr/>
            </p:nvSpPr>
            <p:spPr>
              <a:xfrm>
                <a:off x="1929860" y="2426208"/>
                <a:ext cx="408146" cy="436435"/>
              </a:xfrm>
              <a:custGeom>
                <a:avLst/>
                <a:gdLst>
                  <a:gd name="connsiteX0" fmla="*/ 95 w 408146"/>
                  <a:gd name="connsiteY0" fmla="*/ 310229 h 436435"/>
                  <a:gd name="connsiteX1" fmla="*/ 158782 w 408146"/>
                  <a:gd name="connsiteY1" fmla="*/ 179832 h 436435"/>
                  <a:gd name="connsiteX2" fmla="*/ 264033 w 408146"/>
                  <a:gd name="connsiteY2" fmla="*/ 133636 h 436435"/>
                  <a:gd name="connsiteX3" fmla="*/ 207359 w 408146"/>
                  <a:gd name="connsiteY3" fmla="*/ 89059 h 436435"/>
                  <a:gd name="connsiteX4" fmla="*/ 140113 w 408146"/>
                  <a:gd name="connsiteY4" fmla="*/ 142494 h 436435"/>
                  <a:gd name="connsiteX5" fmla="*/ 18669 w 408146"/>
                  <a:gd name="connsiteY5" fmla="*/ 142494 h 436435"/>
                  <a:gd name="connsiteX6" fmla="*/ 206502 w 408146"/>
                  <a:gd name="connsiteY6" fmla="*/ 0 h 436435"/>
                  <a:gd name="connsiteX7" fmla="*/ 340900 w 408146"/>
                  <a:gd name="connsiteY7" fmla="*/ 34004 h 436435"/>
                  <a:gd name="connsiteX8" fmla="*/ 393573 w 408146"/>
                  <a:gd name="connsiteY8" fmla="*/ 152209 h 436435"/>
                  <a:gd name="connsiteX9" fmla="*/ 393573 w 408146"/>
                  <a:gd name="connsiteY9" fmla="*/ 361093 h 436435"/>
                  <a:gd name="connsiteX10" fmla="*/ 408146 w 408146"/>
                  <a:gd name="connsiteY10" fmla="*/ 420243 h 436435"/>
                  <a:gd name="connsiteX11" fmla="*/ 408146 w 408146"/>
                  <a:gd name="connsiteY11" fmla="*/ 425958 h 436435"/>
                  <a:gd name="connsiteX12" fmla="*/ 280225 w 408146"/>
                  <a:gd name="connsiteY12" fmla="*/ 425958 h 436435"/>
                  <a:gd name="connsiteX13" fmla="*/ 266414 w 408146"/>
                  <a:gd name="connsiteY13" fmla="*/ 379762 h 436435"/>
                  <a:gd name="connsiteX14" fmla="*/ 264795 w 408146"/>
                  <a:gd name="connsiteY14" fmla="*/ 379762 h 436435"/>
                  <a:gd name="connsiteX15" fmla="*/ 141732 w 408146"/>
                  <a:gd name="connsiteY15" fmla="*/ 436436 h 436435"/>
                  <a:gd name="connsiteX16" fmla="*/ 0 w 408146"/>
                  <a:gd name="connsiteY16" fmla="*/ 310134 h 436435"/>
                  <a:gd name="connsiteX17" fmla="*/ 267271 w 408146"/>
                  <a:gd name="connsiteY17" fmla="*/ 277844 h 436435"/>
                  <a:gd name="connsiteX18" fmla="*/ 267271 w 408146"/>
                  <a:gd name="connsiteY18" fmla="*/ 228409 h 436435"/>
                  <a:gd name="connsiteX19" fmla="*/ 199263 w 408146"/>
                  <a:gd name="connsiteY19" fmla="*/ 250317 h 436435"/>
                  <a:gd name="connsiteX20" fmla="*/ 127159 w 408146"/>
                  <a:gd name="connsiteY20" fmla="*/ 306229 h 436435"/>
                  <a:gd name="connsiteX21" fmla="*/ 183833 w 408146"/>
                  <a:gd name="connsiteY21" fmla="*/ 352425 h 436435"/>
                  <a:gd name="connsiteX22" fmla="*/ 267271 w 408146"/>
                  <a:gd name="connsiteY22" fmla="*/ 277939 h 43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8146" h="436435">
                    <a:moveTo>
                      <a:pt x="95" y="310229"/>
                    </a:moveTo>
                    <a:cubicBezTo>
                      <a:pt x="95" y="218694"/>
                      <a:pt x="72962" y="191167"/>
                      <a:pt x="158782" y="179832"/>
                    </a:cubicBezTo>
                    <a:cubicBezTo>
                      <a:pt x="236506" y="170117"/>
                      <a:pt x="264033" y="162020"/>
                      <a:pt x="264033" y="133636"/>
                    </a:cubicBezTo>
                    <a:cubicBezTo>
                      <a:pt x="264033" y="106871"/>
                      <a:pt x="246983" y="89059"/>
                      <a:pt x="207359" y="89059"/>
                    </a:cubicBezTo>
                    <a:cubicBezTo>
                      <a:pt x="165259" y="89059"/>
                      <a:pt x="144209" y="107728"/>
                      <a:pt x="140113" y="142494"/>
                    </a:cubicBezTo>
                    <a:lnTo>
                      <a:pt x="18669" y="142494"/>
                    </a:lnTo>
                    <a:cubicBezTo>
                      <a:pt x="21908" y="65532"/>
                      <a:pt x="81058" y="0"/>
                      <a:pt x="206502" y="0"/>
                    </a:cubicBezTo>
                    <a:cubicBezTo>
                      <a:pt x="268891" y="0"/>
                      <a:pt x="310991" y="11335"/>
                      <a:pt x="340900" y="34004"/>
                    </a:cubicBezTo>
                    <a:cubicBezTo>
                      <a:pt x="376523" y="59912"/>
                      <a:pt x="393573" y="100393"/>
                      <a:pt x="393573" y="152209"/>
                    </a:cubicBezTo>
                    <a:lnTo>
                      <a:pt x="393573" y="361093"/>
                    </a:lnTo>
                    <a:cubicBezTo>
                      <a:pt x="393573" y="394335"/>
                      <a:pt x="396812" y="412909"/>
                      <a:pt x="408146" y="420243"/>
                    </a:cubicBezTo>
                    <a:lnTo>
                      <a:pt x="408146" y="425958"/>
                    </a:lnTo>
                    <a:lnTo>
                      <a:pt x="280225" y="425958"/>
                    </a:lnTo>
                    <a:cubicBezTo>
                      <a:pt x="273749" y="417005"/>
                      <a:pt x="269748" y="400812"/>
                      <a:pt x="266414" y="379762"/>
                    </a:cubicBezTo>
                    <a:lnTo>
                      <a:pt x="264795" y="379762"/>
                    </a:lnTo>
                    <a:cubicBezTo>
                      <a:pt x="240506" y="414623"/>
                      <a:pt x="204025" y="436436"/>
                      <a:pt x="141732" y="436436"/>
                    </a:cubicBezTo>
                    <a:cubicBezTo>
                      <a:pt x="59150" y="436436"/>
                      <a:pt x="0" y="391858"/>
                      <a:pt x="0" y="310134"/>
                    </a:cubicBezTo>
                    <a:close/>
                    <a:moveTo>
                      <a:pt x="267271" y="277844"/>
                    </a:moveTo>
                    <a:lnTo>
                      <a:pt x="267271" y="228409"/>
                    </a:lnTo>
                    <a:cubicBezTo>
                      <a:pt x="250222" y="237363"/>
                      <a:pt x="226028" y="243840"/>
                      <a:pt x="199263" y="250317"/>
                    </a:cubicBezTo>
                    <a:cubicBezTo>
                      <a:pt x="148304" y="261652"/>
                      <a:pt x="127159" y="274606"/>
                      <a:pt x="127159" y="306229"/>
                    </a:cubicBezTo>
                    <a:cubicBezTo>
                      <a:pt x="127159" y="339471"/>
                      <a:pt x="151447" y="352425"/>
                      <a:pt x="183833" y="352425"/>
                    </a:cubicBezTo>
                    <a:cubicBezTo>
                      <a:pt x="233267" y="352425"/>
                      <a:pt x="267271" y="322421"/>
                      <a:pt x="267271" y="277939"/>
                    </a:cubicBezTo>
                    <a:close/>
                  </a:path>
                </a:pathLst>
              </a:custGeom>
              <a:solidFill>
                <a:srgbClr val="000000"/>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5DD63A5D-6FEC-9078-D37D-FEF196F857D4}"/>
                  </a:ext>
                </a:extLst>
              </p:cNvPr>
              <p:cNvSpPr/>
              <p:nvPr/>
            </p:nvSpPr>
            <p:spPr>
              <a:xfrm>
                <a:off x="2379345" y="2273236"/>
                <a:ext cx="133635" cy="578929"/>
              </a:xfrm>
              <a:custGeom>
                <a:avLst/>
                <a:gdLst>
                  <a:gd name="connsiteX0" fmla="*/ 0 w 133635"/>
                  <a:gd name="connsiteY0" fmla="*/ 0 h 578929"/>
                  <a:gd name="connsiteX1" fmla="*/ 133636 w 133635"/>
                  <a:gd name="connsiteY1" fmla="*/ 0 h 578929"/>
                  <a:gd name="connsiteX2" fmla="*/ 133636 w 133635"/>
                  <a:gd name="connsiteY2" fmla="*/ 578930 h 578929"/>
                  <a:gd name="connsiteX3" fmla="*/ 0 w 133635"/>
                  <a:gd name="connsiteY3" fmla="*/ 578930 h 578929"/>
                  <a:gd name="connsiteX4" fmla="*/ 0 w 133635"/>
                  <a:gd name="connsiteY4" fmla="*/ 0 h 57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35" h="578929">
                    <a:moveTo>
                      <a:pt x="0" y="0"/>
                    </a:moveTo>
                    <a:lnTo>
                      <a:pt x="133636" y="0"/>
                    </a:lnTo>
                    <a:lnTo>
                      <a:pt x="133636" y="578930"/>
                    </a:lnTo>
                    <a:lnTo>
                      <a:pt x="0" y="578930"/>
                    </a:lnTo>
                    <a:lnTo>
                      <a:pt x="0" y="0"/>
                    </a:lnTo>
                    <a:close/>
                  </a:path>
                </a:pathLst>
              </a:custGeom>
              <a:solidFill>
                <a:srgbClr val="000000"/>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13783CA1-9A73-386F-22D3-510DD8CE1EBE}"/>
                  </a:ext>
                </a:extLst>
              </p:cNvPr>
              <p:cNvSpPr/>
              <p:nvPr/>
            </p:nvSpPr>
            <p:spPr>
              <a:xfrm>
                <a:off x="2568797" y="2273236"/>
                <a:ext cx="133635" cy="578929"/>
              </a:xfrm>
              <a:custGeom>
                <a:avLst/>
                <a:gdLst>
                  <a:gd name="connsiteX0" fmla="*/ 0 w 133635"/>
                  <a:gd name="connsiteY0" fmla="*/ 0 h 578929"/>
                  <a:gd name="connsiteX1" fmla="*/ 133636 w 133635"/>
                  <a:gd name="connsiteY1" fmla="*/ 0 h 578929"/>
                  <a:gd name="connsiteX2" fmla="*/ 133636 w 133635"/>
                  <a:gd name="connsiteY2" fmla="*/ 578930 h 578929"/>
                  <a:gd name="connsiteX3" fmla="*/ 0 w 133635"/>
                  <a:gd name="connsiteY3" fmla="*/ 578930 h 578929"/>
                  <a:gd name="connsiteX4" fmla="*/ 0 w 133635"/>
                  <a:gd name="connsiteY4" fmla="*/ 0 h 57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35" h="578929">
                    <a:moveTo>
                      <a:pt x="0" y="0"/>
                    </a:moveTo>
                    <a:lnTo>
                      <a:pt x="133636" y="0"/>
                    </a:lnTo>
                    <a:lnTo>
                      <a:pt x="133636" y="578930"/>
                    </a:lnTo>
                    <a:lnTo>
                      <a:pt x="0" y="578930"/>
                    </a:lnTo>
                    <a:lnTo>
                      <a:pt x="0" y="0"/>
                    </a:lnTo>
                    <a:close/>
                  </a:path>
                </a:pathLst>
              </a:custGeom>
              <a:solidFill>
                <a:srgbClr val="000000"/>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B5CDE4B7-8018-00C7-67CC-CF275DFA2ED5}"/>
                  </a:ext>
                </a:extLst>
              </p:cNvPr>
              <p:cNvSpPr/>
              <p:nvPr/>
            </p:nvSpPr>
            <p:spPr>
              <a:xfrm>
                <a:off x="2891790" y="2273236"/>
                <a:ext cx="132016" cy="578929"/>
              </a:xfrm>
              <a:custGeom>
                <a:avLst/>
                <a:gdLst>
                  <a:gd name="connsiteX0" fmla="*/ 0 w 132016"/>
                  <a:gd name="connsiteY0" fmla="*/ 0 h 578929"/>
                  <a:gd name="connsiteX1" fmla="*/ 132017 w 132016"/>
                  <a:gd name="connsiteY1" fmla="*/ 0 h 578929"/>
                  <a:gd name="connsiteX2" fmla="*/ 132017 w 132016"/>
                  <a:gd name="connsiteY2" fmla="*/ 106871 h 578929"/>
                  <a:gd name="connsiteX3" fmla="*/ 0 w 132016"/>
                  <a:gd name="connsiteY3" fmla="*/ 106871 h 578929"/>
                  <a:gd name="connsiteX4" fmla="*/ 0 w 132016"/>
                  <a:gd name="connsiteY4" fmla="*/ 0 h 578929"/>
                  <a:gd name="connsiteX5" fmla="*/ 0 w 132016"/>
                  <a:gd name="connsiteY5" fmla="*/ 164401 h 578929"/>
                  <a:gd name="connsiteX6" fmla="*/ 132017 w 132016"/>
                  <a:gd name="connsiteY6" fmla="*/ 164401 h 578929"/>
                  <a:gd name="connsiteX7" fmla="*/ 132017 w 132016"/>
                  <a:gd name="connsiteY7" fmla="*/ 578930 h 578929"/>
                  <a:gd name="connsiteX8" fmla="*/ 0 w 132016"/>
                  <a:gd name="connsiteY8" fmla="*/ 578930 h 578929"/>
                  <a:gd name="connsiteX9" fmla="*/ 0 w 132016"/>
                  <a:gd name="connsiteY9" fmla="*/ 164401 h 57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016" h="578929">
                    <a:moveTo>
                      <a:pt x="0" y="0"/>
                    </a:moveTo>
                    <a:lnTo>
                      <a:pt x="132017" y="0"/>
                    </a:lnTo>
                    <a:lnTo>
                      <a:pt x="132017" y="106871"/>
                    </a:lnTo>
                    <a:lnTo>
                      <a:pt x="0" y="106871"/>
                    </a:lnTo>
                    <a:lnTo>
                      <a:pt x="0" y="0"/>
                    </a:lnTo>
                    <a:close/>
                    <a:moveTo>
                      <a:pt x="0" y="164401"/>
                    </a:moveTo>
                    <a:lnTo>
                      <a:pt x="132017" y="164401"/>
                    </a:lnTo>
                    <a:lnTo>
                      <a:pt x="132017" y="578930"/>
                    </a:lnTo>
                    <a:lnTo>
                      <a:pt x="0" y="578930"/>
                    </a:lnTo>
                    <a:lnTo>
                      <a:pt x="0" y="164401"/>
                    </a:lnTo>
                    <a:close/>
                  </a:path>
                </a:pathLst>
              </a:custGeom>
              <a:solidFill>
                <a:srgbClr val="000000"/>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7DB65B13-1477-4B14-A272-BF42B904306E}"/>
                  </a:ext>
                </a:extLst>
              </p:cNvPr>
              <p:cNvSpPr/>
              <p:nvPr/>
            </p:nvSpPr>
            <p:spPr>
              <a:xfrm>
                <a:off x="3078860" y="2425445"/>
                <a:ext cx="401669" cy="426720"/>
              </a:xfrm>
              <a:custGeom>
                <a:avLst/>
                <a:gdLst>
                  <a:gd name="connsiteX0" fmla="*/ 0 w 401669"/>
                  <a:gd name="connsiteY0" fmla="*/ 12192 h 426720"/>
                  <a:gd name="connsiteX1" fmla="*/ 127159 w 401669"/>
                  <a:gd name="connsiteY1" fmla="*/ 12192 h 426720"/>
                  <a:gd name="connsiteX2" fmla="*/ 127159 w 401669"/>
                  <a:gd name="connsiteY2" fmla="*/ 68866 h 426720"/>
                  <a:gd name="connsiteX3" fmla="*/ 129635 w 401669"/>
                  <a:gd name="connsiteY3" fmla="*/ 68866 h 426720"/>
                  <a:gd name="connsiteX4" fmla="*/ 257556 w 401669"/>
                  <a:gd name="connsiteY4" fmla="*/ 0 h 426720"/>
                  <a:gd name="connsiteX5" fmla="*/ 401669 w 401669"/>
                  <a:gd name="connsiteY5" fmla="*/ 157067 h 426720"/>
                  <a:gd name="connsiteX6" fmla="*/ 401669 w 401669"/>
                  <a:gd name="connsiteY6" fmla="*/ 426720 h 426720"/>
                  <a:gd name="connsiteX7" fmla="*/ 269653 w 401669"/>
                  <a:gd name="connsiteY7" fmla="*/ 426720 h 426720"/>
                  <a:gd name="connsiteX8" fmla="*/ 269653 w 401669"/>
                  <a:gd name="connsiteY8" fmla="*/ 183833 h 426720"/>
                  <a:gd name="connsiteX9" fmla="*/ 204883 w 401669"/>
                  <a:gd name="connsiteY9" fmla="*/ 110109 h 426720"/>
                  <a:gd name="connsiteX10" fmla="*/ 132017 w 401669"/>
                  <a:gd name="connsiteY10" fmla="*/ 197549 h 426720"/>
                  <a:gd name="connsiteX11" fmla="*/ 132017 w 401669"/>
                  <a:gd name="connsiteY11" fmla="*/ 426720 h 426720"/>
                  <a:gd name="connsiteX12" fmla="*/ 0 w 401669"/>
                  <a:gd name="connsiteY12" fmla="*/ 426720 h 426720"/>
                  <a:gd name="connsiteX13" fmla="*/ 0 w 401669"/>
                  <a:gd name="connsiteY13" fmla="*/ 12192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69" h="426720">
                    <a:moveTo>
                      <a:pt x="0" y="12192"/>
                    </a:moveTo>
                    <a:lnTo>
                      <a:pt x="127159" y="12192"/>
                    </a:lnTo>
                    <a:lnTo>
                      <a:pt x="127159" y="68866"/>
                    </a:lnTo>
                    <a:lnTo>
                      <a:pt x="129635" y="68866"/>
                    </a:lnTo>
                    <a:cubicBezTo>
                      <a:pt x="160401" y="24289"/>
                      <a:pt x="200120" y="0"/>
                      <a:pt x="257556" y="0"/>
                    </a:cubicBezTo>
                    <a:cubicBezTo>
                      <a:pt x="348234" y="0"/>
                      <a:pt x="401669" y="64770"/>
                      <a:pt x="401669" y="157067"/>
                    </a:cubicBezTo>
                    <a:lnTo>
                      <a:pt x="401669" y="426720"/>
                    </a:lnTo>
                    <a:lnTo>
                      <a:pt x="269653" y="426720"/>
                    </a:lnTo>
                    <a:lnTo>
                      <a:pt x="269653" y="183833"/>
                    </a:lnTo>
                    <a:cubicBezTo>
                      <a:pt x="269653" y="140113"/>
                      <a:pt x="247745" y="110109"/>
                      <a:pt x="204883" y="110109"/>
                    </a:cubicBezTo>
                    <a:cubicBezTo>
                      <a:pt x="162020" y="110109"/>
                      <a:pt x="132017" y="146590"/>
                      <a:pt x="132017" y="197549"/>
                    </a:cubicBezTo>
                    <a:lnTo>
                      <a:pt x="132017" y="426720"/>
                    </a:lnTo>
                    <a:lnTo>
                      <a:pt x="0" y="426720"/>
                    </a:lnTo>
                    <a:lnTo>
                      <a:pt x="0" y="12192"/>
                    </a:lnTo>
                    <a:close/>
                  </a:path>
                </a:pathLst>
              </a:custGeom>
              <a:solidFill>
                <a:srgbClr val="000000"/>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BBF2FD2A-D738-DE3F-16BD-4CCCA38C8BA2}"/>
                  </a:ext>
                </a:extLst>
              </p:cNvPr>
              <p:cNvSpPr/>
              <p:nvPr/>
            </p:nvSpPr>
            <p:spPr>
              <a:xfrm>
                <a:off x="4915185" y="2716149"/>
                <a:ext cx="138493" cy="136016"/>
              </a:xfrm>
              <a:custGeom>
                <a:avLst/>
                <a:gdLst>
                  <a:gd name="connsiteX0" fmla="*/ 0 w 138493"/>
                  <a:gd name="connsiteY0" fmla="*/ 0 h 136016"/>
                  <a:gd name="connsiteX1" fmla="*/ 138494 w 138493"/>
                  <a:gd name="connsiteY1" fmla="*/ 0 h 136016"/>
                  <a:gd name="connsiteX2" fmla="*/ 138494 w 138493"/>
                  <a:gd name="connsiteY2" fmla="*/ 136017 h 136016"/>
                  <a:gd name="connsiteX3" fmla="*/ 0 w 138493"/>
                  <a:gd name="connsiteY3" fmla="*/ 136017 h 136016"/>
                  <a:gd name="connsiteX4" fmla="*/ 0 w 138493"/>
                  <a:gd name="connsiteY4" fmla="*/ 0 h 13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493" h="136016">
                    <a:moveTo>
                      <a:pt x="0" y="0"/>
                    </a:moveTo>
                    <a:lnTo>
                      <a:pt x="138494" y="0"/>
                    </a:lnTo>
                    <a:lnTo>
                      <a:pt x="138494" y="136017"/>
                    </a:lnTo>
                    <a:lnTo>
                      <a:pt x="0" y="136017"/>
                    </a:lnTo>
                    <a:lnTo>
                      <a:pt x="0" y="0"/>
                    </a:lnTo>
                    <a:close/>
                  </a:path>
                </a:pathLst>
              </a:custGeom>
              <a:solidFill>
                <a:srgbClr val="000000"/>
              </a:solidFill>
              <a:ln w="9525" cap="flat">
                <a:noFill/>
                <a:prstDash val="solid"/>
                <a:miter/>
              </a:ln>
            </p:spPr>
            <p:txBody>
              <a:bodyPr rtlCol="0" anchor="ctr"/>
              <a:lstStyle/>
              <a:p>
                <a:endParaRPr lang="en-AU"/>
              </a:p>
            </p:txBody>
          </p:sp>
        </p:grpSp>
      </p:grpSp>
      <p:grpSp>
        <p:nvGrpSpPr>
          <p:cNvPr id="6" name="Group 5">
            <a:extLst>
              <a:ext uri="{FF2B5EF4-FFF2-40B4-BE49-F238E27FC236}">
                <a16:creationId xmlns:a16="http://schemas.microsoft.com/office/drawing/2014/main" id="{43D8A540-6AC5-628E-0438-DE0DC5F5A7A4}"/>
              </a:ext>
            </a:extLst>
          </p:cNvPr>
          <p:cNvGrpSpPr/>
          <p:nvPr userDrawn="1"/>
        </p:nvGrpSpPr>
        <p:grpSpPr>
          <a:xfrm>
            <a:off x="1279620" y="2386298"/>
            <a:ext cx="9668474" cy="1826324"/>
            <a:chOff x="1929860" y="2273236"/>
            <a:chExt cx="3123819" cy="590073"/>
          </a:xfrm>
        </p:grpSpPr>
        <p:sp>
          <p:nvSpPr>
            <p:cNvPr id="7" name="Freeform: Shape 6">
              <a:extLst>
                <a:ext uri="{FF2B5EF4-FFF2-40B4-BE49-F238E27FC236}">
                  <a16:creationId xmlns:a16="http://schemas.microsoft.com/office/drawing/2014/main" id="{6B176B80-7584-48D5-1BF5-7EB9DC688778}"/>
                </a:ext>
              </a:extLst>
            </p:cNvPr>
            <p:cNvSpPr/>
            <p:nvPr/>
          </p:nvSpPr>
          <p:spPr>
            <a:xfrm>
              <a:off x="3595497" y="2421350"/>
              <a:ext cx="1266355" cy="441959"/>
            </a:xfrm>
            <a:custGeom>
              <a:avLst/>
              <a:gdLst>
                <a:gd name="connsiteX0" fmla="*/ 1060514 w 1266355"/>
                <a:gd name="connsiteY0" fmla="*/ 348805 h 441959"/>
                <a:gd name="connsiteX1" fmla="*/ 964216 w 1266355"/>
                <a:gd name="connsiteY1" fmla="*/ 255175 h 441959"/>
                <a:gd name="connsiteX2" fmla="*/ 963930 w 1266355"/>
                <a:gd name="connsiteY2" fmla="*/ 252984 h 441959"/>
                <a:gd name="connsiteX3" fmla="*/ 1266349 w 1266355"/>
                <a:gd name="connsiteY3" fmla="*/ 252984 h 441959"/>
                <a:gd name="connsiteX4" fmla="*/ 1193101 w 1266355"/>
                <a:gd name="connsiteY4" fmla="*/ 52006 h 441959"/>
                <a:gd name="connsiteX5" fmla="*/ 1050798 w 1266355"/>
                <a:gd name="connsiteY5" fmla="*/ 0 h 441959"/>
                <a:gd name="connsiteX6" fmla="*/ 839819 w 1266355"/>
                <a:gd name="connsiteY6" fmla="*/ 181165 h 441959"/>
                <a:gd name="connsiteX7" fmla="*/ 839819 w 1266355"/>
                <a:gd name="connsiteY7" fmla="*/ 157353 h 441959"/>
                <a:gd name="connsiteX8" fmla="*/ 696754 w 1266355"/>
                <a:gd name="connsiteY8" fmla="*/ 95 h 441959"/>
                <a:gd name="connsiteX9" fmla="*/ 567023 w 1266355"/>
                <a:gd name="connsiteY9" fmla="*/ 69913 h 441959"/>
                <a:gd name="connsiteX10" fmla="*/ 564547 w 1266355"/>
                <a:gd name="connsiteY10" fmla="*/ 69913 h 441959"/>
                <a:gd name="connsiteX11" fmla="*/ 564547 w 1266355"/>
                <a:gd name="connsiteY11" fmla="*/ 12478 h 441959"/>
                <a:gd name="connsiteX12" fmla="*/ 438721 w 1266355"/>
                <a:gd name="connsiteY12" fmla="*/ 12478 h 441959"/>
                <a:gd name="connsiteX13" fmla="*/ 438721 w 1266355"/>
                <a:gd name="connsiteY13" fmla="*/ 185547 h 441959"/>
                <a:gd name="connsiteX14" fmla="*/ 220789 w 1266355"/>
                <a:gd name="connsiteY14" fmla="*/ 381 h 441959"/>
                <a:gd name="connsiteX15" fmla="*/ 0 w 1266355"/>
                <a:gd name="connsiteY15" fmla="*/ 221170 h 441959"/>
                <a:gd name="connsiteX16" fmla="*/ 220789 w 1266355"/>
                <a:gd name="connsiteY16" fmla="*/ 441960 h 441959"/>
                <a:gd name="connsiteX17" fmla="*/ 438721 w 1266355"/>
                <a:gd name="connsiteY17" fmla="*/ 256794 h 441959"/>
                <a:gd name="connsiteX18" fmla="*/ 438721 w 1266355"/>
                <a:gd name="connsiteY18" fmla="*/ 428816 h 441959"/>
                <a:gd name="connsiteX19" fmla="*/ 567499 w 1266355"/>
                <a:gd name="connsiteY19" fmla="*/ 428816 h 441959"/>
                <a:gd name="connsiteX20" fmla="*/ 567499 w 1266355"/>
                <a:gd name="connsiteY20" fmla="*/ 198501 h 441959"/>
                <a:gd name="connsiteX21" fmla="*/ 643318 w 1266355"/>
                <a:gd name="connsiteY21" fmla="*/ 107918 h 441959"/>
                <a:gd name="connsiteX22" fmla="*/ 710946 w 1266355"/>
                <a:gd name="connsiteY22" fmla="*/ 184594 h 441959"/>
                <a:gd name="connsiteX23" fmla="*/ 710946 w 1266355"/>
                <a:gd name="connsiteY23" fmla="*/ 428911 h 441959"/>
                <a:gd name="connsiteX24" fmla="*/ 839724 w 1266355"/>
                <a:gd name="connsiteY24" fmla="*/ 428911 h 441959"/>
                <a:gd name="connsiteX25" fmla="*/ 839724 w 1266355"/>
                <a:gd name="connsiteY25" fmla="*/ 259842 h 441959"/>
                <a:gd name="connsiteX26" fmla="*/ 1058989 w 1266355"/>
                <a:gd name="connsiteY26" fmla="*/ 441198 h 441959"/>
                <a:gd name="connsiteX27" fmla="*/ 1189196 w 1266355"/>
                <a:gd name="connsiteY27" fmla="*/ 403003 h 441959"/>
                <a:gd name="connsiteX28" fmla="*/ 1258443 w 1266355"/>
                <a:gd name="connsiteY28" fmla="*/ 307181 h 441959"/>
                <a:gd name="connsiteX29" fmla="*/ 1131665 w 1266355"/>
                <a:gd name="connsiteY29" fmla="*/ 307181 h 441959"/>
                <a:gd name="connsiteX30" fmla="*/ 1060609 w 1266355"/>
                <a:gd name="connsiteY30" fmla="*/ 348996 h 441959"/>
                <a:gd name="connsiteX31" fmla="*/ 1053179 w 1266355"/>
                <a:gd name="connsiteY31" fmla="*/ 91440 h 441959"/>
                <a:gd name="connsiteX32" fmla="*/ 1134427 w 1266355"/>
                <a:gd name="connsiteY32" fmla="*/ 173355 h 441959"/>
                <a:gd name="connsiteX33" fmla="*/ 965359 w 1266355"/>
                <a:gd name="connsiteY33" fmla="*/ 173355 h 441959"/>
                <a:gd name="connsiteX34" fmla="*/ 1053084 w 1266355"/>
                <a:gd name="connsiteY34" fmla="*/ 91440 h 44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66355" h="441959">
                  <a:moveTo>
                    <a:pt x="1060514" y="348805"/>
                  </a:moveTo>
                  <a:cubicBezTo>
                    <a:pt x="1007173" y="348805"/>
                    <a:pt x="972979" y="315563"/>
                    <a:pt x="964216" y="255175"/>
                  </a:cubicBezTo>
                  <a:lnTo>
                    <a:pt x="963930" y="252984"/>
                  </a:lnTo>
                  <a:lnTo>
                    <a:pt x="1266349" y="252984"/>
                  </a:lnTo>
                  <a:cubicBezTo>
                    <a:pt x="1266825" y="167068"/>
                    <a:pt x="1240822" y="95726"/>
                    <a:pt x="1193101" y="52006"/>
                  </a:cubicBezTo>
                  <a:cubicBezTo>
                    <a:pt x="1155097" y="17526"/>
                    <a:pt x="1107281" y="0"/>
                    <a:pt x="1050798" y="0"/>
                  </a:cubicBezTo>
                  <a:cubicBezTo>
                    <a:pt x="939737" y="0"/>
                    <a:pt x="856012" y="74200"/>
                    <a:pt x="839819" y="181165"/>
                  </a:cubicBezTo>
                  <a:lnTo>
                    <a:pt x="839819" y="157353"/>
                  </a:lnTo>
                  <a:cubicBezTo>
                    <a:pt x="839819" y="61817"/>
                    <a:pt x="784384" y="95"/>
                    <a:pt x="696754" y="95"/>
                  </a:cubicBezTo>
                  <a:cubicBezTo>
                    <a:pt x="638461" y="95"/>
                    <a:pt x="598265" y="24670"/>
                    <a:pt x="567023" y="69913"/>
                  </a:cubicBezTo>
                  <a:lnTo>
                    <a:pt x="564547" y="69913"/>
                  </a:lnTo>
                  <a:lnTo>
                    <a:pt x="564547" y="12478"/>
                  </a:lnTo>
                  <a:lnTo>
                    <a:pt x="438721" y="12478"/>
                  </a:lnTo>
                  <a:lnTo>
                    <a:pt x="438721" y="185547"/>
                  </a:lnTo>
                  <a:cubicBezTo>
                    <a:pt x="421576" y="80677"/>
                    <a:pt x="330422" y="381"/>
                    <a:pt x="220789" y="381"/>
                  </a:cubicBezTo>
                  <a:cubicBezTo>
                    <a:pt x="99060" y="381"/>
                    <a:pt x="0" y="99441"/>
                    <a:pt x="0" y="221170"/>
                  </a:cubicBezTo>
                  <a:cubicBezTo>
                    <a:pt x="0" y="342900"/>
                    <a:pt x="99060" y="441960"/>
                    <a:pt x="220789" y="441960"/>
                  </a:cubicBezTo>
                  <a:cubicBezTo>
                    <a:pt x="330422" y="441960"/>
                    <a:pt x="421576" y="361664"/>
                    <a:pt x="438721" y="256794"/>
                  </a:cubicBezTo>
                  <a:lnTo>
                    <a:pt x="438721" y="428816"/>
                  </a:lnTo>
                  <a:lnTo>
                    <a:pt x="567499" y="428816"/>
                  </a:lnTo>
                  <a:lnTo>
                    <a:pt x="567499" y="198501"/>
                  </a:lnTo>
                  <a:cubicBezTo>
                    <a:pt x="567499" y="145161"/>
                    <a:pt x="598646" y="107918"/>
                    <a:pt x="643318" y="107918"/>
                  </a:cubicBezTo>
                  <a:cubicBezTo>
                    <a:pt x="685705" y="107918"/>
                    <a:pt x="710946" y="136588"/>
                    <a:pt x="710946" y="184594"/>
                  </a:cubicBezTo>
                  <a:lnTo>
                    <a:pt x="710946" y="428911"/>
                  </a:lnTo>
                  <a:lnTo>
                    <a:pt x="839724" y="428911"/>
                  </a:lnTo>
                  <a:lnTo>
                    <a:pt x="839724" y="259842"/>
                  </a:lnTo>
                  <a:cubicBezTo>
                    <a:pt x="856012" y="369856"/>
                    <a:pt x="939927" y="441198"/>
                    <a:pt x="1058989" y="441198"/>
                  </a:cubicBezTo>
                  <a:cubicBezTo>
                    <a:pt x="1109758" y="441198"/>
                    <a:pt x="1152334" y="428720"/>
                    <a:pt x="1189196" y="403003"/>
                  </a:cubicBezTo>
                  <a:cubicBezTo>
                    <a:pt x="1224248" y="378904"/>
                    <a:pt x="1248727" y="344900"/>
                    <a:pt x="1258443" y="307181"/>
                  </a:cubicBezTo>
                  <a:lnTo>
                    <a:pt x="1131665" y="307181"/>
                  </a:lnTo>
                  <a:cubicBezTo>
                    <a:pt x="1119188" y="334613"/>
                    <a:pt x="1094613" y="348996"/>
                    <a:pt x="1060609" y="348996"/>
                  </a:cubicBezTo>
                  <a:moveTo>
                    <a:pt x="1053179" y="91440"/>
                  </a:moveTo>
                  <a:cubicBezTo>
                    <a:pt x="1097089" y="91440"/>
                    <a:pt x="1128808" y="123539"/>
                    <a:pt x="1134427" y="173355"/>
                  </a:cubicBezTo>
                  <a:lnTo>
                    <a:pt x="965359" y="173355"/>
                  </a:lnTo>
                  <a:cubicBezTo>
                    <a:pt x="975741" y="119063"/>
                    <a:pt x="1005173" y="91440"/>
                    <a:pt x="1053084" y="91440"/>
                  </a:cubicBezTo>
                </a:path>
              </a:pathLst>
            </a:custGeom>
            <a:solidFill>
              <a:srgbClr val="000000"/>
            </a:solidFill>
            <a:ln w="9525"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25A4D29D-5435-8C0D-B51C-51835EFA91F6}"/>
                </a:ext>
              </a:extLst>
            </p:cNvPr>
            <p:cNvSpPr/>
            <p:nvPr/>
          </p:nvSpPr>
          <p:spPr>
            <a:xfrm>
              <a:off x="3613784" y="2612136"/>
              <a:ext cx="51434" cy="58673"/>
            </a:xfrm>
            <a:custGeom>
              <a:avLst/>
              <a:gdLst>
                <a:gd name="connsiteX0" fmla="*/ 30385 w 51434"/>
                <a:gd name="connsiteY0" fmla="*/ 22098 h 58673"/>
                <a:gd name="connsiteX1" fmla="*/ 16764 w 51434"/>
                <a:gd name="connsiteY1" fmla="*/ 16002 h 58673"/>
                <a:gd name="connsiteX2" fmla="*/ 24955 w 51434"/>
                <a:gd name="connsiteY2" fmla="*/ 10382 h 58673"/>
                <a:gd name="connsiteX3" fmla="*/ 34290 w 51434"/>
                <a:gd name="connsiteY3" fmla="*/ 16288 h 58673"/>
                <a:gd name="connsiteX4" fmla="*/ 49435 w 51434"/>
                <a:gd name="connsiteY4" fmla="*/ 16288 h 58673"/>
                <a:gd name="connsiteX5" fmla="*/ 24860 w 51434"/>
                <a:gd name="connsiteY5" fmla="*/ 0 h 58673"/>
                <a:gd name="connsiteX6" fmla="*/ 1619 w 51434"/>
                <a:gd name="connsiteY6" fmla="*/ 17240 h 58673"/>
                <a:gd name="connsiteX7" fmla="*/ 21431 w 51434"/>
                <a:gd name="connsiteY7" fmla="*/ 34480 h 58673"/>
                <a:gd name="connsiteX8" fmla="*/ 35719 w 51434"/>
                <a:gd name="connsiteY8" fmla="*/ 41529 h 58673"/>
                <a:gd name="connsiteX9" fmla="*/ 26575 w 51434"/>
                <a:gd name="connsiteY9" fmla="*/ 47911 h 58673"/>
                <a:gd name="connsiteX10" fmla="*/ 15335 w 51434"/>
                <a:gd name="connsiteY10" fmla="*/ 39814 h 58673"/>
                <a:gd name="connsiteX11" fmla="*/ 0 w 51434"/>
                <a:gd name="connsiteY11" fmla="*/ 39814 h 58673"/>
                <a:gd name="connsiteX12" fmla="*/ 26479 w 51434"/>
                <a:gd name="connsiteY12" fmla="*/ 58674 h 58673"/>
                <a:gd name="connsiteX13" fmla="*/ 51435 w 51434"/>
                <a:gd name="connsiteY13" fmla="*/ 40481 h 58673"/>
                <a:gd name="connsiteX14" fmla="*/ 30289 w 51434"/>
                <a:gd name="connsiteY14" fmla="*/ 22193 h 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434" h="58673">
                  <a:moveTo>
                    <a:pt x="30385" y="22098"/>
                  </a:moveTo>
                  <a:cubicBezTo>
                    <a:pt x="22765" y="20764"/>
                    <a:pt x="16764" y="20098"/>
                    <a:pt x="16764" y="16002"/>
                  </a:cubicBezTo>
                  <a:cubicBezTo>
                    <a:pt x="16764" y="12478"/>
                    <a:pt x="20003" y="10382"/>
                    <a:pt x="24955" y="10382"/>
                  </a:cubicBezTo>
                  <a:cubicBezTo>
                    <a:pt x="29909" y="10382"/>
                    <a:pt x="33242" y="12382"/>
                    <a:pt x="34290" y="16288"/>
                  </a:cubicBezTo>
                  <a:lnTo>
                    <a:pt x="49435" y="16288"/>
                  </a:lnTo>
                  <a:cubicBezTo>
                    <a:pt x="48006" y="6667"/>
                    <a:pt x="40291" y="0"/>
                    <a:pt x="24860" y="0"/>
                  </a:cubicBezTo>
                  <a:cubicBezTo>
                    <a:pt x="11906" y="0"/>
                    <a:pt x="1619" y="5905"/>
                    <a:pt x="1619" y="17240"/>
                  </a:cubicBezTo>
                  <a:cubicBezTo>
                    <a:pt x="1619" y="30099"/>
                    <a:pt x="11621" y="32575"/>
                    <a:pt x="21431" y="34480"/>
                  </a:cubicBezTo>
                  <a:cubicBezTo>
                    <a:pt x="29146" y="35909"/>
                    <a:pt x="35719" y="36576"/>
                    <a:pt x="35719" y="41529"/>
                  </a:cubicBezTo>
                  <a:cubicBezTo>
                    <a:pt x="35719" y="45529"/>
                    <a:pt x="32385" y="47911"/>
                    <a:pt x="26575" y="47911"/>
                  </a:cubicBezTo>
                  <a:cubicBezTo>
                    <a:pt x="20193" y="47911"/>
                    <a:pt x="16288" y="44958"/>
                    <a:pt x="15335" y="39814"/>
                  </a:cubicBezTo>
                  <a:lnTo>
                    <a:pt x="0" y="39814"/>
                  </a:lnTo>
                  <a:cubicBezTo>
                    <a:pt x="857" y="50959"/>
                    <a:pt x="10478" y="58674"/>
                    <a:pt x="26479" y="58674"/>
                  </a:cubicBezTo>
                  <a:cubicBezTo>
                    <a:pt x="40862" y="58674"/>
                    <a:pt x="51435" y="52483"/>
                    <a:pt x="51435" y="40481"/>
                  </a:cubicBezTo>
                  <a:cubicBezTo>
                    <a:pt x="51435" y="26575"/>
                    <a:pt x="40196" y="23908"/>
                    <a:pt x="30289" y="22193"/>
                  </a:cubicBezTo>
                </a:path>
              </a:pathLst>
            </a:custGeom>
            <a:solidFill>
              <a:srgbClr val="FFFFFF"/>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794B348F-C105-7FA5-32EE-9C05F06F0B29}"/>
                </a:ext>
              </a:extLst>
            </p:cNvPr>
            <p:cNvSpPr/>
            <p:nvPr/>
          </p:nvSpPr>
          <p:spPr>
            <a:xfrm>
              <a:off x="3666553" y="2612040"/>
              <a:ext cx="58483" cy="58674"/>
            </a:xfrm>
            <a:custGeom>
              <a:avLst/>
              <a:gdLst>
                <a:gd name="connsiteX0" fmla="*/ 29337 w 58483"/>
                <a:gd name="connsiteY0" fmla="*/ 0 h 58674"/>
                <a:gd name="connsiteX1" fmla="*/ 0 w 58483"/>
                <a:gd name="connsiteY1" fmla="*/ 29337 h 58674"/>
                <a:gd name="connsiteX2" fmla="*/ 29337 w 58483"/>
                <a:gd name="connsiteY2" fmla="*/ 58674 h 58674"/>
                <a:gd name="connsiteX3" fmla="*/ 58483 w 58483"/>
                <a:gd name="connsiteY3" fmla="*/ 29337 h 58674"/>
                <a:gd name="connsiteX4" fmla="*/ 29337 w 58483"/>
                <a:gd name="connsiteY4" fmla="*/ 0 h 58674"/>
                <a:gd name="connsiteX5" fmla="*/ 29242 w 58483"/>
                <a:gd name="connsiteY5" fmla="*/ 46768 h 58674"/>
                <a:gd name="connsiteX6" fmla="*/ 16573 w 58483"/>
                <a:gd name="connsiteY6" fmla="*/ 29337 h 58674"/>
                <a:gd name="connsiteX7" fmla="*/ 29242 w 58483"/>
                <a:gd name="connsiteY7" fmla="*/ 11621 h 58674"/>
                <a:gd name="connsiteX8" fmla="*/ 41910 w 58483"/>
                <a:gd name="connsiteY8" fmla="*/ 29337 h 58674"/>
                <a:gd name="connsiteX9" fmla="*/ 29242 w 58483"/>
                <a:gd name="connsiteY9" fmla="*/ 46768 h 5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83" h="58674">
                  <a:moveTo>
                    <a:pt x="29337" y="0"/>
                  </a:moveTo>
                  <a:cubicBezTo>
                    <a:pt x="11621" y="0"/>
                    <a:pt x="0" y="12668"/>
                    <a:pt x="0" y="29337"/>
                  </a:cubicBezTo>
                  <a:cubicBezTo>
                    <a:pt x="0" y="46006"/>
                    <a:pt x="11621" y="58674"/>
                    <a:pt x="29337" y="58674"/>
                  </a:cubicBezTo>
                  <a:cubicBezTo>
                    <a:pt x="47054" y="58674"/>
                    <a:pt x="58483" y="45911"/>
                    <a:pt x="58483" y="29337"/>
                  </a:cubicBezTo>
                  <a:cubicBezTo>
                    <a:pt x="58483" y="12764"/>
                    <a:pt x="46958" y="0"/>
                    <a:pt x="29337" y="0"/>
                  </a:cubicBezTo>
                  <a:moveTo>
                    <a:pt x="29242" y="46768"/>
                  </a:moveTo>
                  <a:cubicBezTo>
                    <a:pt x="20955" y="46768"/>
                    <a:pt x="16573" y="39719"/>
                    <a:pt x="16573" y="29337"/>
                  </a:cubicBezTo>
                  <a:cubicBezTo>
                    <a:pt x="16573" y="18955"/>
                    <a:pt x="20955" y="11621"/>
                    <a:pt x="29242" y="11621"/>
                  </a:cubicBezTo>
                  <a:cubicBezTo>
                    <a:pt x="37529" y="11621"/>
                    <a:pt x="41910" y="18764"/>
                    <a:pt x="41910" y="29337"/>
                  </a:cubicBezTo>
                  <a:cubicBezTo>
                    <a:pt x="41910" y="39910"/>
                    <a:pt x="37338" y="46768"/>
                    <a:pt x="29242" y="46768"/>
                  </a:cubicBezTo>
                </a:path>
              </a:pathLst>
            </a:custGeom>
            <a:solidFill>
              <a:srgbClr val="FFFFFF"/>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5ECABC91-3BF6-845A-28D3-12577F0E7B8C}"/>
                </a:ext>
              </a:extLst>
            </p:cNvPr>
            <p:cNvSpPr/>
            <p:nvPr/>
          </p:nvSpPr>
          <p:spPr>
            <a:xfrm>
              <a:off x="3723036" y="2591556"/>
              <a:ext cx="151257" cy="78014"/>
            </a:xfrm>
            <a:custGeom>
              <a:avLst/>
              <a:gdLst>
                <a:gd name="connsiteX0" fmla="*/ 135255 w 151257"/>
                <a:gd name="connsiteY0" fmla="*/ 22008 h 78014"/>
                <a:gd name="connsiteX1" fmla="*/ 129350 w 151257"/>
                <a:gd name="connsiteY1" fmla="*/ 43534 h 78014"/>
                <a:gd name="connsiteX2" fmla="*/ 126016 w 151257"/>
                <a:gd name="connsiteY2" fmla="*/ 60775 h 78014"/>
                <a:gd name="connsiteX3" fmla="*/ 125825 w 151257"/>
                <a:gd name="connsiteY3" fmla="*/ 60775 h 78014"/>
                <a:gd name="connsiteX4" fmla="*/ 122206 w 151257"/>
                <a:gd name="connsiteY4" fmla="*/ 43344 h 78014"/>
                <a:gd name="connsiteX5" fmla="*/ 116396 w 151257"/>
                <a:gd name="connsiteY5" fmla="*/ 22008 h 78014"/>
                <a:gd name="connsiteX6" fmla="*/ 102584 w 151257"/>
                <a:gd name="connsiteY6" fmla="*/ 22008 h 78014"/>
                <a:gd name="connsiteX7" fmla="*/ 96964 w 151257"/>
                <a:gd name="connsiteY7" fmla="*/ 43344 h 78014"/>
                <a:gd name="connsiteX8" fmla="*/ 93440 w 151257"/>
                <a:gd name="connsiteY8" fmla="*/ 60679 h 78014"/>
                <a:gd name="connsiteX9" fmla="*/ 93250 w 151257"/>
                <a:gd name="connsiteY9" fmla="*/ 60679 h 78014"/>
                <a:gd name="connsiteX10" fmla="*/ 90011 w 151257"/>
                <a:gd name="connsiteY10" fmla="*/ 43534 h 78014"/>
                <a:gd name="connsiteX11" fmla="*/ 84201 w 151257"/>
                <a:gd name="connsiteY11" fmla="*/ 22008 h 78014"/>
                <a:gd name="connsiteX12" fmla="*/ 59436 w 151257"/>
                <a:gd name="connsiteY12" fmla="*/ 22008 h 78014"/>
                <a:gd name="connsiteX13" fmla="*/ 59436 w 151257"/>
                <a:gd name="connsiteY13" fmla="*/ 4291 h 78014"/>
                <a:gd name="connsiteX14" fmla="*/ 43434 w 151257"/>
                <a:gd name="connsiteY14" fmla="*/ 4291 h 78014"/>
                <a:gd name="connsiteX15" fmla="*/ 43434 w 151257"/>
                <a:gd name="connsiteY15" fmla="*/ 22008 h 78014"/>
                <a:gd name="connsiteX16" fmla="*/ 24670 w 151257"/>
                <a:gd name="connsiteY16" fmla="*/ 22008 h 78014"/>
                <a:gd name="connsiteX17" fmla="*/ 24670 w 151257"/>
                <a:gd name="connsiteY17" fmla="*/ 18484 h 78014"/>
                <a:gd name="connsiteX18" fmla="*/ 36195 w 151257"/>
                <a:gd name="connsiteY18" fmla="*/ 12007 h 78014"/>
                <a:gd name="connsiteX19" fmla="*/ 36195 w 151257"/>
                <a:gd name="connsiteY19" fmla="*/ 386 h 78014"/>
                <a:gd name="connsiteX20" fmla="*/ 29432 w 151257"/>
                <a:gd name="connsiteY20" fmla="*/ 5 h 78014"/>
                <a:gd name="connsiteX21" fmla="*/ 12954 w 151257"/>
                <a:gd name="connsiteY21" fmla="*/ 4386 h 78014"/>
                <a:gd name="connsiteX22" fmla="*/ 8287 w 151257"/>
                <a:gd name="connsiteY22" fmla="*/ 17340 h 78014"/>
                <a:gd name="connsiteX23" fmla="*/ 8287 w 151257"/>
                <a:gd name="connsiteY23" fmla="*/ 22008 h 78014"/>
                <a:gd name="connsiteX24" fmla="*/ 0 w 151257"/>
                <a:gd name="connsiteY24" fmla="*/ 22008 h 78014"/>
                <a:gd name="connsiteX25" fmla="*/ 0 w 151257"/>
                <a:gd name="connsiteY25" fmla="*/ 33438 h 78014"/>
                <a:gd name="connsiteX26" fmla="*/ 8287 w 151257"/>
                <a:gd name="connsiteY26" fmla="*/ 33438 h 78014"/>
                <a:gd name="connsiteX27" fmla="*/ 8287 w 151257"/>
                <a:gd name="connsiteY27" fmla="*/ 77348 h 78014"/>
                <a:gd name="connsiteX28" fmla="*/ 24575 w 151257"/>
                <a:gd name="connsiteY28" fmla="*/ 77348 h 78014"/>
                <a:gd name="connsiteX29" fmla="*/ 24575 w 151257"/>
                <a:gd name="connsiteY29" fmla="*/ 33438 h 78014"/>
                <a:gd name="connsiteX30" fmla="*/ 43339 w 151257"/>
                <a:gd name="connsiteY30" fmla="*/ 33438 h 78014"/>
                <a:gd name="connsiteX31" fmla="*/ 43339 w 151257"/>
                <a:gd name="connsiteY31" fmla="*/ 63442 h 78014"/>
                <a:gd name="connsiteX32" fmla="*/ 60579 w 151257"/>
                <a:gd name="connsiteY32" fmla="*/ 78015 h 78014"/>
                <a:gd name="connsiteX33" fmla="*/ 70009 w 151257"/>
                <a:gd name="connsiteY33" fmla="*/ 77157 h 78014"/>
                <a:gd name="connsiteX34" fmla="*/ 70009 w 151257"/>
                <a:gd name="connsiteY34" fmla="*/ 64965 h 78014"/>
                <a:gd name="connsiteX35" fmla="*/ 69152 w 151257"/>
                <a:gd name="connsiteY35" fmla="*/ 64965 h 78014"/>
                <a:gd name="connsiteX36" fmla="*/ 65437 w 151257"/>
                <a:gd name="connsiteY36" fmla="*/ 65156 h 78014"/>
                <a:gd name="connsiteX37" fmla="*/ 59341 w 151257"/>
                <a:gd name="connsiteY37" fmla="*/ 59822 h 78014"/>
                <a:gd name="connsiteX38" fmla="*/ 59341 w 151257"/>
                <a:gd name="connsiteY38" fmla="*/ 33438 h 78014"/>
                <a:gd name="connsiteX39" fmla="*/ 70961 w 151257"/>
                <a:gd name="connsiteY39" fmla="*/ 33438 h 78014"/>
                <a:gd name="connsiteX40" fmla="*/ 84487 w 151257"/>
                <a:gd name="connsiteY40" fmla="*/ 77348 h 78014"/>
                <a:gd name="connsiteX41" fmla="*/ 99631 w 151257"/>
                <a:gd name="connsiteY41" fmla="*/ 77348 h 78014"/>
                <a:gd name="connsiteX42" fmla="*/ 105632 w 151257"/>
                <a:gd name="connsiteY42" fmla="*/ 54774 h 78014"/>
                <a:gd name="connsiteX43" fmla="*/ 109252 w 151257"/>
                <a:gd name="connsiteY43" fmla="*/ 37819 h 78014"/>
                <a:gd name="connsiteX44" fmla="*/ 109442 w 151257"/>
                <a:gd name="connsiteY44" fmla="*/ 37819 h 78014"/>
                <a:gd name="connsiteX45" fmla="*/ 112871 w 151257"/>
                <a:gd name="connsiteY45" fmla="*/ 54774 h 78014"/>
                <a:gd name="connsiteX46" fmla="*/ 118681 w 151257"/>
                <a:gd name="connsiteY46" fmla="*/ 77348 h 78014"/>
                <a:gd name="connsiteX47" fmla="*/ 134112 w 151257"/>
                <a:gd name="connsiteY47" fmla="*/ 77348 h 78014"/>
                <a:gd name="connsiteX48" fmla="*/ 151257 w 151257"/>
                <a:gd name="connsiteY48" fmla="*/ 22008 h 78014"/>
                <a:gd name="connsiteX49" fmla="*/ 135160 w 151257"/>
                <a:gd name="connsiteY49" fmla="*/ 22008 h 7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1257" h="78014">
                  <a:moveTo>
                    <a:pt x="135255" y="22008"/>
                  </a:moveTo>
                  <a:lnTo>
                    <a:pt x="129350" y="43534"/>
                  </a:lnTo>
                  <a:cubicBezTo>
                    <a:pt x="127445" y="50202"/>
                    <a:pt x="126016" y="60775"/>
                    <a:pt x="126016" y="60775"/>
                  </a:cubicBezTo>
                  <a:lnTo>
                    <a:pt x="125825" y="60775"/>
                  </a:lnTo>
                  <a:cubicBezTo>
                    <a:pt x="125825" y="60775"/>
                    <a:pt x="124016" y="49916"/>
                    <a:pt x="122206" y="43344"/>
                  </a:cubicBezTo>
                  <a:lnTo>
                    <a:pt x="116396" y="22008"/>
                  </a:lnTo>
                  <a:lnTo>
                    <a:pt x="102584" y="22008"/>
                  </a:lnTo>
                  <a:lnTo>
                    <a:pt x="96964" y="43344"/>
                  </a:lnTo>
                  <a:cubicBezTo>
                    <a:pt x="95250" y="50011"/>
                    <a:pt x="93440" y="60679"/>
                    <a:pt x="93440" y="60679"/>
                  </a:cubicBezTo>
                  <a:lnTo>
                    <a:pt x="93250" y="60679"/>
                  </a:lnTo>
                  <a:cubicBezTo>
                    <a:pt x="93250" y="60679"/>
                    <a:pt x="91821" y="50107"/>
                    <a:pt x="90011" y="43534"/>
                  </a:cubicBezTo>
                  <a:lnTo>
                    <a:pt x="84201" y="22008"/>
                  </a:lnTo>
                  <a:lnTo>
                    <a:pt x="59436" y="22008"/>
                  </a:lnTo>
                  <a:lnTo>
                    <a:pt x="59436" y="4291"/>
                  </a:lnTo>
                  <a:lnTo>
                    <a:pt x="43434" y="4291"/>
                  </a:lnTo>
                  <a:lnTo>
                    <a:pt x="43434" y="22008"/>
                  </a:lnTo>
                  <a:lnTo>
                    <a:pt x="24670" y="22008"/>
                  </a:lnTo>
                  <a:lnTo>
                    <a:pt x="24670" y="18484"/>
                  </a:lnTo>
                  <a:cubicBezTo>
                    <a:pt x="24670" y="12292"/>
                    <a:pt x="28004" y="11721"/>
                    <a:pt x="36195" y="12007"/>
                  </a:cubicBezTo>
                  <a:lnTo>
                    <a:pt x="36195" y="386"/>
                  </a:lnTo>
                  <a:cubicBezTo>
                    <a:pt x="33909" y="100"/>
                    <a:pt x="31623" y="5"/>
                    <a:pt x="29432" y="5"/>
                  </a:cubicBezTo>
                  <a:cubicBezTo>
                    <a:pt x="22384" y="-90"/>
                    <a:pt x="16669" y="1148"/>
                    <a:pt x="12954" y="4386"/>
                  </a:cubicBezTo>
                  <a:cubicBezTo>
                    <a:pt x="9716" y="7339"/>
                    <a:pt x="8287" y="11435"/>
                    <a:pt x="8287" y="17340"/>
                  </a:cubicBezTo>
                  <a:lnTo>
                    <a:pt x="8287" y="22008"/>
                  </a:lnTo>
                  <a:lnTo>
                    <a:pt x="0" y="22008"/>
                  </a:lnTo>
                  <a:lnTo>
                    <a:pt x="0" y="33438"/>
                  </a:lnTo>
                  <a:lnTo>
                    <a:pt x="8287" y="33438"/>
                  </a:lnTo>
                  <a:lnTo>
                    <a:pt x="8287" y="77348"/>
                  </a:lnTo>
                  <a:lnTo>
                    <a:pt x="24575" y="77348"/>
                  </a:lnTo>
                  <a:lnTo>
                    <a:pt x="24575" y="33438"/>
                  </a:lnTo>
                  <a:lnTo>
                    <a:pt x="43339" y="33438"/>
                  </a:lnTo>
                  <a:lnTo>
                    <a:pt x="43339" y="63442"/>
                  </a:lnTo>
                  <a:cubicBezTo>
                    <a:pt x="43339" y="74681"/>
                    <a:pt x="50292" y="78015"/>
                    <a:pt x="60579" y="78015"/>
                  </a:cubicBezTo>
                  <a:cubicBezTo>
                    <a:pt x="64961" y="78015"/>
                    <a:pt x="68294" y="77539"/>
                    <a:pt x="70009" y="77157"/>
                  </a:cubicBezTo>
                  <a:lnTo>
                    <a:pt x="70009" y="64965"/>
                  </a:lnTo>
                  <a:lnTo>
                    <a:pt x="69152" y="64965"/>
                  </a:lnTo>
                  <a:cubicBezTo>
                    <a:pt x="68104" y="65061"/>
                    <a:pt x="66485" y="65156"/>
                    <a:pt x="65437" y="65156"/>
                  </a:cubicBezTo>
                  <a:cubicBezTo>
                    <a:pt x="61627" y="65156"/>
                    <a:pt x="59341" y="64013"/>
                    <a:pt x="59341" y="59822"/>
                  </a:cubicBezTo>
                  <a:lnTo>
                    <a:pt x="59341" y="33438"/>
                  </a:lnTo>
                  <a:lnTo>
                    <a:pt x="70961" y="33438"/>
                  </a:lnTo>
                  <a:lnTo>
                    <a:pt x="84487" y="77348"/>
                  </a:lnTo>
                  <a:lnTo>
                    <a:pt x="99631" y="77348"/>
                  </a:lnTo>
                  <a:lnTo>
                    <a:pt x="105632" y="54774"/>
                  </a:lnTo>
                  <a:cubicBezTo>
                    <a:pt x="107252" y="48392"/>
                    <a:pt x="109252" y="37819"/>
                    <a:pt x="109252" y="37819"/>
                  </a:cubicBezTo>
                  <a:lnTo>
                    <a:pt x="109442" y="37819"/>
                  </a:lnTo>
                  <a:cubicBezTo>
                    <a:pt x="109442" y="37819"/>
                    <a:pt x="111252" y="48487"/>
                    <a:pt x="112871" y="54774"/>
                  </a:cubicBezTo>
                  <a:lnTo>
                    <a:pt x="118681" y="77348"/>
                  </a:lnTo>
                  <a:lnTo>
                    <a:pt x="134112" y="77348"/>
                  </a:lnTo>
                  <a:lnTo>
                    <a:pt x="151257" y="22008"/>
                  </a:lnTo>
                  <a:lnTo>
                    <a:pt x="135160" y="22008"/>
                  </a:lnTo>
                  <a:close/>
                </a:path>
              </a:pathLst>
            </a:custGeom>
            <a:solidFill>
              <a:srgbClr val="FFFFFF"/>
            </a:solidFill>
            <a:ln w="9525"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4C185B6B-EA87-0D31-1E97-9FD0E7E29206}"/>
                </a:ext>
              </a:extLst>
            </p:cNvPr>
            <p:cNvSpPr/>
            <p:nvPr/>
          </p:nvSpPr>
          <p:spPr>
            <a:xfrm>
              <a:off x="3870769" y="2612040"/>
              <a:ext cx="54292" cy="58388"/>
            </a:xfrm>
            <a:custGeom>
              <a:avLst/>
              <a:gdLst>
                <a:gd name="connsiteX0" fmla="*/ 54197 w 54292"/>
                <a:gd name="connsiteY0" fmla="*/ 56864 h 58388"/>
                <a:gd name="connsiteX1" fmla="*/ 51530 w 54292"/>
                <a:gd name="connsiteY1" fmla="*/ 48196 h 58388"/>
                <a:gd name="connsiteX2" fmla="*/ 51530 w 54292"/>
                <a:gd name="connsiteY2" fmla="*/ 19812 h 58388"/>
                <a:gd name="connsiteX3" fmla="*/ 43148 w 54292"/>
                <a:gd name="connsiteY3" fmla="*/ 3334 h 58388"/>
                <a:gd name="connsiteX4" fmla="*/ 27241 w 54292"/>
                <a:gd name="connsiteY4" fmla="*/ 0 h 58388"/>
                <a:gd name="connsiteX5" fmla="*/ 2667 w 54292"/>
                <a:gd name="connsiteY5" fmla="*/ 18288 h 58388"/>
                <a:gd name="connsiteX6" fmla="*/ 17716 w 54292"/>
                <a:gd name="connsiteY6" fmla="*/ 18288 h 58388"/>
                <a:gd name="connsiteX7" fmla="*/ 27432 w 54292"/>
                <a:gd name="connsiteY7" fmla="*/ 11049 h 58388"/>
                <a:gd name="connsiteX8" fmla="*/ 35623 w 54292"/>
                <a:gd name="connsiteY8" fmla="*/ 17717 h 58388"/>
                <a:gd name="connsiteX9" fmla="*/ 21717 w 54292"/>
                <a:gd name="connsiteY9" fmla="*/ 24765 h 58388"/>
                <a:gd name="connsiteX10" fmla="*/ 0 w 54292"/>
                <a:gd name="connsiteY10" fmla="*/ 41624 h 58388"/>
                <a:gd name="connsiteX11" fmla="*/ 18955 w 54292"/>
                <a:gd name="connsiteY11" fmla="*/ 58388 h 58388"/>
                <a:gd name="connsiteX12" fmla="*/ 35909 w 54292"/>
                <a:gd name="connsiteY12" fmla="*/ 50197 h 58388"/>
                <a:gd name="connsiteX13" fmla="*/ 37814 w 54292"/>
                <a:gd name="connsiteY13" fmla="*/ 56960 h 58388"/>
                <a:gd name="connsiteX14" fmla="*/ 54292 w 54292"/>
                <a:gd name="connsiteY14" fmla="*/ 56960 h 58388"/>
                <a:gd name="connsiteX15" fmla="*/ 36004 w 54292"/>
                <a:gd name="connsiteY15" fmla="*/ 36957 h 58388"/>
                <a:gd name="connsiteX16" fmla="*/ 23908 w 54292"/>
                <a:gd name="connsiteY16" fmla="*/ 47530 h 58388"/>
                <a:gd name="connsiteX17" fmla="*/ 15812 w 54292"/>
                <a:gd name="connsiteY17" fmla="*/ 40958 h 58388"/>
                <a:gd name="connsiteX18" fmla="*/ 26384 w 54292"/>
                <a:gd name="connsiteY18" fmla="*/ 32861 h 58388"/>
                <a:gd name="connsiteX19" fmla="*/ 35909 w 54292"/>
                <a:gd name="connsiteY19" fmla="*/ 29718 h 58388"/>
                <a:gd name="connsiteX20" fmla="*/ 35909 w 54292"/>
                <a:gd name="connsiteY20" fmla="*/ 36862 h 5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292" h="58388">
                  <a:moveTo>
                    <a:pt x="54197" y="56864"/>
                  </a:moveTo>
                  <a:cubicBezTo>
                    <a:pt x="52578" y="55436"/>
                    <a:pt x="51530" y="52578"/>
                    <a:pt x="51530" y="48196"/>
                  </a:cubicBezTo>
                  <a:lnTo>
                    <a:pt x="51530" y="19812"/>
                  </a:lnTo>
                  <a:cubicBezTo>
                    <a:pt x="51530" y="12287"/>
                    <a:pt x="48863" y="6572"/>
                    <a:pt x="43148" y="3334"/>
                  </a:cubicBezTo>
                  <a:cubicBezTo>
                    <a:pt x="39338" y="1048"/>
                    <a:pt x="34290" y="0"/>
                    <a:pt x="27241" y="0"/>
                  </a:cubicBezTo>
                  <a:cubicBezTo>
                    <a:pt x="10858" y="0"/>
                    <a:pt x="3143" y="8858"/>
                    <a:pt x="2667" y="18288"/>
                  </a:cubicBezTo>
                  <a:lnTo>
                    <a:pt x="17716" y="18288"/>
                  </a:lnTo>
                  <a:cubicBezTo>
                    <a:pt x="18097" y="13907"/>
                    <a:pt x="21146" y="11049"/>
                    <a:pt x="27432" y="11049"/>
                  </a:cubicBezTo>
                  <a:cubicBezTo>
                    <a:pt x="33052" y="11049"/>
                    <a:pt x="35623" y="13716"/>
                    <a:pt x="35623" y="17717"/>
                  </a:cubicBezTo>
                  <a:cubicBezTo>
                    <a:pt x="35623" y="21908"/>
                    <a:pt x="31528" y="23432"/>
                    <a:pt x="21717" y="24765"/>
                  </a:cubicBezTo>
                  <a:cubicBezTo>
                    <a:pt x="9620" y="26194"/>
                    <a:pt x="0" y="29337"/>
                    <a:pt x="0" y="41624"/>
                  </a:cubicBezTo>
                  <a:cubicBezTo>
                    <a:pt x="0" y="52578"/>
                    <a:pt x="8001" y="58388"/>
                    <a:pt x="18955" y="58388"/>
                  </a:cubicBezTo>
                  <a:cubicBezTo>
                    <a:pt x="27527" y="58388"/>
                    <a:pt x="32290" y="55245"/>
                    <a:pt x="35909" y="50197"/>
                  </a:cubicBezTo>
                  <a:cubicBezTo>
                    <a:pt x="36195" y="53340"/>
                    <a:pt x="36957" y="55721"/>
                    <a:pt x="37814" y="56960"/>
                  </a:cubicBezTo>
                  <a:lnTo>
                    <a:pt x="54292" y="56960"/>
                  </a:lnTo>
                  <a:close/>
                  <a:moveTo>
                    <a:pt x="36004" y="36957"/>
                  </a:moveTo>
                  <a:cubicBezTo>
                    <a:pt x="36004" y="42958"/>
                    <a:pt x="31242" y="47530"/>
                    <a:pt x="23908" y="47530"/>
                  </a:cubicBezTo>
                  <a:cubicBezTo>
                    <a:pt x="19431" y="47530"/>
                    <a:pt x="15812" y="45815"/>
                    <a:pt x="15812" y="40958"/>
                  </a:cubicBezTo>
                  <a:cubicBezTo>
                    <a:pt x="15812" y="36100"/>
                    <a:pt x="19240" y="34385"/>
                    <a:pt x="26384" y="32861"/>
                  </a:cubicBezTo>
                  <a:cubicBezTo>
                    <a:pt x="30004" y="32004"/>
                    <a:pt x="33528" y="31242"/>
                    <a:pt x="35909" y="29718"/>
                  </a:cubicBezTo>
                  <a:lnTo>
                    <a:pt x="35909" y="36862"/>
                  </a:lnTo>
                  <a:close/>
                </a:path>
              </a:pathLst>
            </a:custGeom>
            <a:solidFill>
              <a:srgbClr val="FFFFFF"/>
            </a:solid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82E14B5F-CC20-28F6-8387-DE797D33C182}"/>
                </a:ext>
              </a:extLst>
            </p:cNvPr>
            <p:cNvSpPr/>
            <p:nvPr/>
          </p:nvSpPr>
          <p:spPr>
            <a:xfrm>
              <a:off x="3929062" y="2612802"/>
              <a:ext cx="34861" cy="56197"/>
            </a:xfrm>
            <a:custGeom>
              <a:avLst/>
              <a:gdLst>
                <a:gd name="connsiteX0" fmla="*/ 34862 w 34861"/>
                <a:gd name="connsiteY0" fmla="*/ 14573 h 56197"/>
                <a:gd name="connsiteX1" fmla="*/ 34862 w 34861"/>
                <a:gd name="connsiteY1" fmla="*/ 381 h 56197"/>
                <a:gd name="connsiteX2" fmla="*/ 31432 w 34861"/>
                <a:gd name="connsiteY2" fmla="*/ 0 h 56197"/>
                <a:gd name="connsiteX3" fmla="*/ 16002 w 34861"/>
                <a:gd name="connsiteY3" fmla="*/ 10763 h 56197"/>
                <a:gd name="connsiteX4" fmla="*/ 15716 w 34861"/>
                <a:gd name="connsiteY4" fmla="*/ 10763 h 56197"/>
                <a:gd name="connsiteX5" fmla="*/ 15716 w 34861"/>
                <a:gd name="connsiteY5" fmla="*/ 857 h 56197"/>
                <a:gd name="connsiteX6" fmla="*/ 0 w 34861"/>
                <a:gd name="connsiteY6" fmla="*/ 857 h 56197"/>
                <a:gd name="connsiteX7" fmla="*/ 0 w 34861"/>
                <a:gd name="connsiteY7" fmla="*/ 56198 h 56197"/>
                <a:gd name="connsiteX8" fmla="*/ 16288 w 34861"/>
                <a:gd name="connsiteY8" fmla="*/ 56198 h 56197"/>
                <a:gd name="connsiteX9" fmla="*/ 16288 w 34861"/>
                <a:gd name="connsiteY9" fmla="*/ 30480 h 56197"/>
                <a:gd name="connsiteX10" fmla="*/ 30956 w 34861"/>
                <a:gd name="connsiteY10" fmla="*/ 14288 h 56197"/>
                <a:gd name="connsiteX11" fmla="*/ 34385 w 34861"/>
                <a:gd name="connsiteY11" fmla="*/ 14573 h 56197"/>
                <a:gd name="connsiteX12" fmla="*/ 34766 w 34861"/>
                <a:gd name="connsiteY12" fmla="*/ 14573 h 5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861" h="56197">
                  <a:moveTo>
                    <a:pt x="34862" y="14573"/>
                  </a:moveTo>
                  <a:lnTo>
                    <a:pt x="34862" y="381"/>
                  </a:lnTo>
                  <a:cubicBezTo>
                    <a:pt x="34099" y="95"/>
                    <a:pt x="32956" y="0"/>
                    <a:pt x="31432" y="0"/>
                  </a:cubicBezTo>
                  <a:cubicBezTo>
                    <a:pt x="24574" y="0"/>
                    <a:pt x="19621" y="3143"/>
                    <a:pt x="16002" y="10763"/>
                  </a:cubicBezTo>
                  <a:lnTo>
                    <a:pt x="15716" y="10763"/>
                  </a:lnTo>
                  <a:lnTo>
                    <a:pt x="15716" y="857"/>
                  </a:lnTo>
                  <a:lnTo>
                    <a:pt x="0" y="857"/>
                  </a:lnTo>
                  <a:lnTo>
                    <a:pt x="0" y="56198"/>
                  </a:lnTo>
                  <a:lnTo>
                    <a:pt x="16288" y="56198"/>
                  </a:lnTo>
                  <a:lnTo>
                    <a:pt x="16288" y="30480"/>
                  </a:lnTo>
                  <a:cubicBezTo>
                    <a:pt x="16288" y="19621"/>
                    <a:pt x="22098" y="14192"/>
                    <a:pt x="30956" y="14288"/>
                  </a:cubicBezTo>
                  <a:cubicBezTo>
                    <a:pt x="32099" y="14288"/>
                    <a:pt x="33242" y="14383"/>
                    <a:pt x="34385" y="14573"/>
                  </a:cubicBezTo>
                  <a:lnTo>
                    <a:pt x="34766" y="14573"/>
                  </a:lnTo>
                  <a:close/>
                </a:path>
              </a:pathLst>
            </a:custGeom>
            <a:solidFill>
              <a:srgbClr val="FFFFFF"/>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03E9574B-7E3A-F4B4-EC3E-5E14BCEAB2AF}"/>
                </a:ext>
              </a:extLst>
            </p:cNvPr>
            <p:cNvSpPr/>
            <p:nvPr/>
          </p:nvSpPr>
          <p:spPr>
            <a:xfrm>
              <a:off x="3963352" y="2612040"/>
              <a:ext cx="56390" cy="58578"/>
            </a:xfrm>
            <a:custGeom>
              <a:avLst/>
              <a:gdLst>
                <a:gd name="connsiteX0" fmla="*/ 29528 w 56390"/>
                <a:gd name="connsiteY0" fmla="*/ 46673 h 58578"/>
                <a:gd name="connsiteX1" fmla="*/ 16097 w 56390"/>
                <a:gd name="connsiteY1" fmla="*/ 33338 h 58578"/>
                <a:gd name="connsiteX2" fmla="*/ 56388 w 56390"/>
                <a:gd name="connsiteY2" fmla="*/ 33338 h 58578"/>
                <a:gd name="connsiteX3" fmla="*/ 47434 w 56390"/>
                <a:gd name="connsiteY3" fmla="*/ 7049 h 58578"/>
                <a:gd name="connsiteX4" fmla="*/ 28384 w 56390"/>
                <a:gd name="connsiteY4" fmla="*/ 0 h 58578"/>
                <a:gd name="connsiteX5" fmla="*/ 0 w 56390"/>
                <a:gd name="connsiteY5" fmla="*/ 29337 h 58578"/>
                <a:gd name="connsiteX6" fmla="*/ 29242 w 56390"/>
                <a:gd name="connsiteY6" fmla="*/ 58579 h 58578"/>
                <a:gd name="connsiteX7" fmla="*/ 55340 w 56390"/>
                <a:gd name="connsiteY7" fmla="*/ 41339 h 58578"/>
                <a:gd name="connsiteX8" fmla="*/ 39529 w 56390"/>
                <a:gd name="connsiteY8" fmla="*/ 41339 h 58578"/>
                <a:gd name="connsiteX9" fmla="*/ 29432 w 56390"/>
                <a:gd name="connsiteY9" fmla="*/ 46768 h 58578"/>
                <a:gd name="connsiteX10" fmla="*/ 28384 w 56390"/>
                <a:gd name="connsiteY10" fmla="*/ 11621 h 58578"/>
                <a:gd name="connsiteX11" fmla="*/ 39719 w 56390"/>
                <a:gd name="connsiteY11" fmla="*/ 24003 h 58578"/>
                <a:gd name="connsiteX12" fmla="*/ 16097 w 56390"/>
                <a:gd name="connsiteY12" fmla="*/ 24003 h 58578"/>
                <a:gd name="connsiteX13" fmla="*/ 28384 w 56390"/>
                <a:gd name="connsiteY13" fmla="*/ 11621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390" h="58578">
                  <a:moveTo>
                    <a:pt x="29528" y="46673"/>
                  </a:moveTo>
                  <a:cubicBezTo>
                    <a:pt x="21622" y="46673"/>
                    <a:pt x="17145" y="41720"/>
                    <a:pt x="16097" y="33338"/>
                  </a:cubicBezTo>
                  <a:lnTo>
                    <a:pt x="56388" y="33338"/>
                  </a:lnTo>
                  <a:cubicBezTo>
                    <a:pt x="56483" y="22384"/>
                    <a:pt x="53721" y="13049"/>
                    <a:pt x="47434" y="7049"/>
                  </a:cubicBezTo>
                  <a:cubicBezTo>
                    <a:pt x="42577" y="2572"/>
                    <a:pt x="36290" y="0"/>
                    <a:pt x="28384" y="0"/>
                  </a:cubicBezTo>
                  <a:cubicBezTo>
                    <a:pt x="11525" y="0"/>
                    <a:pt x="0" y="12668"/>
                    <a:pt x="0" y="29337"/>
                  </a:cubicBezTo>
                  <a:cubicBezTo>
                    <a:pt x="0" y="46006"/>
                    <a:pt x="11144" y="58579"/>
                    <a:pt x="29242" y="58579"/>
                  </a:cubicBezTo>
                  <a:cubicBezTo>
                    <a:pt x="43529" y="58579"/>
                    <a:pt x="52578" y="51054"/>
                    <a:pt x="55340" y="41339"/>
                  </a:cubicBezTo>
                  <a:lnTo>
                    <a:pt x="39529" y="41339"/>
                  </a:lnTo>
                  <a:cubicBezTo>
                    <a:pt x="37719" y="44767"/>
                    <a:pt x="34576" y="46768"/>
                    <a:pt x="29432" y="46768"/>
                  </a:cubicBezTo>
                  <a:moveTo>
                    <a:pt x="28384" y="11621"/>
                  </a:moveTo>
                  <a:cubicBezTo>
                    <a:pt x="34862" y="11621"/>
                    <a:pt x="39148" y="16288"/>
                    <a:pt x="39719" y="24003"/>
                  </a:cubicBezTo>
                  <a:lnTo>
                    <a:pt x="16097" y="24003"/>
                  </a:lnTo>
                  <a:cubicBezTo>
                    <a:pt x="17145" y="16383"/>
                    <a:pt x="20860" y="11621"/>
                    <a:pt x="28384" y="11621"/>
                  </a:cubicBezTo>
                </a:path>
              </a:pathLst>
            </a:custGeom>
            <a:solidFill>
              <a:srgbClr val="FFFFFF"/>
            </a:solidFill>
            <a:ln w="9525" cap="flat">
              <a:noFill/>
              <a:prstDash val="solid"/>
              <a:miter/>
            </a:ln>
          </p:spPr>
          <p:txBody>
            <a:bodyPr rtlCol="0" anchor="ctr"/>
            <a:lstStyle/>
            <a:p>
              <a:endParaRPr lang="en-AU"/>
            </a:p>
          </p:txBody>
        </p:sp>
        <p:grpSp>
          <p:nvGrpSpPr>
            <p:cNvPr id="29" name="Graphic 8">
              <a:extLst>
                <a:ext uri="{FF2B5EF4-FFF2-40B4-BE49-F238E27FC236}">
                  <a16:creationId xmlns:a16="http://schemas.microsoft.com/office/drawing/2014/main" id="{60AB356F-F9AD-DE87-8910-EBF026ECA88F}"/>
                </a:ext>
              </a:extLst>
            </p:cNvPr>
            <p:cNvGrpSpPr/>
            <p:nvPr/>
          </p:nvGrpSpPr>
          <p:grpSpPr>
            <a:xfrm>
              <a:off x="1929860" y="2273236"/>
              <a:ext cx="3123819" cy="589407"/>
              <a:chOff x="1929860" y="2273236"/>
              <a:chExt cx="3123819" cy="589407"/>
            </a:xfrm>
            <a:solidFill>
              <a:srgbClr val="000000"/>
            </a:solidFill>
          </p:grpSpPr>
          <p:sp>
            <p:nvSpPr>
              <p:cNvPr id="38" name="Freeform: Shape 37">
                <a:extLst>
                  <a:ext uri="{FF2B5EF4-FFF2-40B4-BE49-F238E27FC236}">
                    <a16:creationId xmlns:a16="http://schemas.microsoft.com/office/drawing/2014/main" id="{EE53E23B-67BC-70D1-7561-E55FC8168877}"/>
                  </a:ext>
                </a:extLst>
              </p:cNvPr>
              <p:cNvSpPr/>
              <p:nvPr/>
            </p:nvSpPr>
            <p:spPr>
              <a:xfrm>
                <a:off x="1929860" y="2426208"/>
                <a:ext cx="408146" cy="436435"/>
              </a:xfrm>
              <a:custGeom>
                <a:avLst/>
                <a:gdLst>
                  <a:gd name="connsiteX0" fmla="*/ 95 w 408146"/>
                  <a:gd name="connsiteY0" fmla="*/ 310229 h 436435"/>
                  <a:gd name="connsiteX1" fmla="*/ 158782 w 408146"/>
                  <a:gd name="connsiteY1" fmla="*/ 179832 h 436435"/>
                  <a:gd name="connsiteX2" fmla="*/ 264033 w 408146"/>
                  <a:gd name="connsiteY2" fmla="*/ 133636 h 436435"/>
                  <a:gd name="connsiteX3" fmla="*/ 207359 w 408146"/>
                  <a:gd name="connsiteY3" fmla="*/ 89059 h 436435"/>
                  <a:gd name="connsiteX4" fmla="*/ 140113 w 408146"/>
                  <a:gd name="connsiteY4" fmla="*/ 142494 h 436435"/>
                  <a:gd name="connsiteX5" fmla="*/ 18669 w 408146"/>
                  <a:gd name="connsiteY5" fmla="*/ 142494 h 436435"/>
                  <a:gd name="connsiteX6" fmla="*/ 206502 w 408146"/>
                  <a:gd name="connsiteY6" fmla="*/ 0 h 436435"/>
                  <a:gd name="connsiteX7" fmla="*/ 340900 w 408146"/>
                  <a:gd name="connsiteY7" fmla="*/ 34004 h 436435"/>
                  <a:gd name="connsiteX8" fmla="*/ 393573 w 408146"/>
                  <a:gd name="connsiteY8" fmla="*/ 152209 h 436435"/>
                  <a:gd name="connsiteX9" fmla="*/ 393573 w 408146"/>
                  <a:gd name="connsiteY9" fmla="*/ 361093 h 436435"/>
                  <a:gd name="connsiteX10" fmla="*/ 408146 w 408146"/>
                  <a:gd name="connsiteY10" fmla="*/ 420243 h 436435"/>
                  <a:gd name="connsiteX11" fmla="*/ 408146 w 408146"/>
                  <a:gd name="connsiteY11" fmla="*/ 425958 h 436435"/>
                  <a:gd name="connsiteX12" fmla="*/ 280225 w 408146"/>
                  <a:gd name="connsiteY12" fmla="*/ 425958 h 436435"/>
                  <a:gd name="connsiteX13" fmla="*/ 266414 w 408146"/>
                  <a:gd name="connsiteY13" fmla="*/ 379762 h 436435"/>
                  <a:gd name="connsiteX14" fmla="*/ 264795 w 408146"/>
                  <a:gd name="connsiteY14" fmla="*/ 379762 h 436435"/>
                  <a:gd name="connsiteX15" fmla="*/ 141732 w 408146"/>
                  <a:gd name="connsiteY15" fmla="*/ 436436 h 436435"/>
                  <a:gd name="connsiteX16" fmla="*/ 0 w 408146"/>
                  <a:gd name="connsiteY16" fmla="*/ 310134 h 436435"/>
                  <a:gd name="connsiteX17" fmla="*/ 267271 w 408146"/>
                  <a:gd name="connsiteY17" fmla="*/ 277844 h 436435"/>
                  <a:gd name="connsiteX18" fmla="*/ 267271 w 408146"/>
                  <a:gd name="connsiteY18" fmla="*/ 228409 h 436435"/>
                  <a:gd name="connsiteX19" fmla="*/ 199263 w 408146"/>
                  <a:gd name="connsiteY19" fmla="*/ 250317 h 436435"/>
                  <a:gd name="connsiteX20" fmla="*/ 127159 w 408146"/>
                  <a:gd name="connsiteY20" fmla="*/ 306229 h 436435"/>
                  <a:gd name="connsiteX21" fmla="*/ 183833 w 408146"/>
                  <a:gd name="connsiteY21" fmla="*/ 352425 h 436435"/>
                  <a:gd name="connsiteX22" fmla="*/ 267271 w 408146"/>
                  <a:gd name="connsiteY22" fmla="*/ 277939 h 43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8146" h="436435">
                    <a:moveTo>
                      <a:pt x="95" y="310229"/>
                    </a:moveTo>
                    <a:cubicBezTo>
                      <a:pt x="95" y="218694"/>
                      <a:pt x="72962" y="191167"/>
                      <a:pt x="158782" y="179832"/>
                    </a:cubicBezTo>
                    <a:cubicBezTo>
                      <a:pt x="236506" y="170117"/>
                      <a:pt x="264033" y="162020"/>
                      <a:pt x="264033" y="133636"/>
                    </a:cubicBezTo>
                    <a:cubicBezTo>
                      <a:pt x="264033" y="106871"/>
                      <a:pt x="246983" y="89059"/>
                      <a:pt x="207359" y="89059"/>
                    </a:cubicBezTo>
                    <a:cubicBezTo>
                      <a:pt x="165259" y="89059"/>
                      <a:pt x="144209" y="107728"/>
                      <a:pt x="140113" y="142494"/>
                    </a:cubicBezTo>
                    <a:lnTo>
                      <a:pt x="18669" y="142494"/>
                    </a:lnTo>
                    <a:cubicBezTo>
                      <a:pt x="21908" y="65532"/>
                      <a:pt x="81058" y="0"/>
                      <a:pt x="206502" y="0"/>
                    </a:cubicBezTo>
                    <a:cubicBezTo>
                      <a:pt x="268891" y="0"/>
                      <a:pt x="310991" y="11335"/>
                      <a:pt x="340900" y="34004"/>
                    </a:cubicBezTo>
                    <a:cubicBezTo>
                      <a:pt x="376523" y="59912"/>
                      <a:pt x="393573" y="100393"/>
                      <a:pt x="393573" y="152209"/>
                    </a:cubicBezTo>
                    <a:lnTo>
                      <a:pt x="393573" y="361093"/>
                    </a:lnTo>
                    <a:cubicBezTo>
                      <a:pt x="393573" y="394335"/>
                      <a:pt x="396812" y="412909"/>
                      <a:pt x="408146" y="420243"/>
                    </a:cubicBezTo>
                    <a:lnTo>
                      <a:pt x="408146" y="425958"/>
                    </a:lnTo>
                    <a:lnTo>
                      <a:pt x="280225" y="425958"/>
                    </a:lnTo>
                    <a:cubicBezTo>
                      <a:pt x="273749" y="417005"/>
                      <a:pt x="269748" y="400812"/>
                      <a:pt x="266414" y="379762"/>
                    </a:cubicBezTo>
                    <a:lnTo>
                      <a:pt x="264795" y="379762"/>
                    </a:lnTo>
                    <a:cubicBezTo>
                      <a:pt x="240506" y="414623"/>
                      <a:pt x="204025" y="436436"/>
                      <a:pt x="141732" y="436436"/>
                    </a:cubicBezTo>
                    <a:cubicBezTo>
                      <a:pt x="59150" y="436436"/>
                      <a:pt x="0" y="391858"/>
                      <a:pt x="0" y="310134"/>
                    </a:cubicBezTo>
                    <a:close/>
                    <a:moveTo>
                      <a:pt x="267271" y="277844"/>
                    </a:moveTo>
                    <a:lnTo>
                      <a:pt x="267271" y="228409"/>
                    </a:lnTo>
                    <a:cubicBezTo>
                      <a:pt x="250222" y="237363"/>
                      <a:pt x="226028" y="243840"/>
                      <a:pt x="199263" y="250317"/>
                    </a:cubicBezTo>
                    <a:cubicBezTo>
                      <a:pt x="148304" y="261652"/>
                      <a:pt x="127159" y="274606"/>
                      <a:pt x="127159" y="306229"/>
                    </a:cubicBezTo>
                    <a:cubicBezTo>
                      <a:pt x="127159" y="339471"/>
                      <a:pt x="151447" y="352425"/>
                      <a:pt x="183833" y="352425"/>
                    </a:cubicBezTo>
                    <a:cubicBezTo>
                      <a:pt x="233267" y="352425"/>
                      <a:pt x="267271" y="322421"/>
                      <a:pt x="267271" y="277939"/>
                    </a:cubicBezTo>
                    <a:close/>
                  </a:path>
                </a:pathLst>
              </a:custGeom>
              <a:solidFill>
                <a:srgbClr val="000000"/>
              </a:solidFill>
              <a:ln w="9525"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56BCFFB2-324E-4C29-76A8-95FA5C7A0653}"/>
                  </a:ext>
                </a:extLst>
              </p:cNvPr>
              <p:cNvSpPr/>
              <p:nvPr/>
            </p:nvSpPr>
            <p:spPr>
              <a:xfrm>
                <a:off x="2379345" y="2273236"/>
                <a:ext cx="133635" cy="578929"/>
              </a:xfrm>
              <a:custGeom>
                <a:avLst/>
                <a:gdLst>
                  <a:gd name="connsiteX0" fmla="*/ 0 w 133635"/>
                  <a:gd name="connsiteY0" fmla="*/ 0 h 578929"/>
                  <a:gd name="connsiteX1" fmla="*/ 133636 w 133635"/>
                  <a:gd name="connsiteY1" fmla="*/ 0 h 578929"/>
                  <a:gd name="connsiteX2" fmla="*/ 133636 w 133635"/>
                  <a:gd name="connsiteY2" fmla="*/ 578930 h 578929"/>
                  <a:gd name="connsiteX3" fmla="*/ 0 w 133635"/>
                  <a:gd name="connsiteY3" fmla="*/ 578930 h 578929"/>
                  <a:gd name="connsiteX4" fmla="*/ 0 w 133635"/>
                  <a:gd name="connsiteY4" fmla="*/ 0 h 57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35" h="578929">
                    <a:moveTo>
                      <a:pt x="0" y="0"/>
                    </a:moveTo>
                    <a:lnTo>
                      <a:pt x="133636" y="0"/>
                    </a:lnTo>
                    <a:lnTo>
                      <a:pt x="133636" y="578930"/>
                    </a:lnTo>
                    <a:lnTo>
                      <a:pt x="0" y="578930"/>
                    </a:lnTo>
                    <a:lnTo>
                      <a:pt x="0" y="0"/>
                    </a:lnTo>
                    <a:close/>
                  </a:path>
                </a:pathLst>
              </a:custGeom>
              <a:solidFill>
                <a:srgbClr val="000000"/>
              </a:solidFill>
              <a:ln w="9525"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34FCDFCC-6A8D-551A-A909-9822DF2CBB4E}"/>
                  </a:ext>
                </a:extLst>
              </p:cNvPr>
              <p:cNvSpPr/>
              <p:nvPr/>
            </p:nvSpPr>
            <p:spPr>
              <a:xfrm>
                <a:off x="2568797" y="2273236"/>
                <a:ext cx="133635" cy="578929"/>
              </a:xfrm>
              <a:custGeom>
                <a:avLst/>
                <a:gdLst>
                  <a:gd name="connsiteX0" fmla="*/ 0 w 133635"/>
                  <a:gd name="connsiteY0" fmla="*/ 0 h 578929"/>
                  <a:gd name="connsiteX1" fmla="*/ 133636 w 133635"/>
                  <a:gd name="connsiteY1" fmla="*/ 0 h 578929"/>
                  <a:gd name="connsiteX2" fmla="*/ 133636 w 133635"/>
                  <a:gd name="connsiteY2" fmla="*/ 578930 h 578929"/>
                  <a:gd name="connsiteX3" fmla="*/ 0 w 133635"/>
                  <a:gd name="connsiteY3" fmla="*/ 578930 h 578929"/>
                  <a:gd name="connsiteX4" fmla="*/ 0 w 133635"/>
                  <a:gd name="connsiteY4" fmla="*/ 0 h 57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35" h="578929">
                    <a:moveTo>
                      <a:pt x="0" y="0"/>
                    </a:moveTo>
                    <a:lnTo>
                      <a:pt x="133636" y="0"/>
                    </a:lnTo>
                    <a:lnTo>
                      <a:pt x="133636" y="578930"/>
                    </a:lnTo>
                    <a:lnTo>
                      <a:pt x="0" y="578930"/>
                    </a:lnTo>
                    <a:lnTo>
                      <a:pt x="0" y="0"/>
                    </a:lnTo>
                    <a:close/>
                  </a:path>
                </a:pathLst>
              </a:custGeom>
              <a:solidFill>
                <a:srgbClr val="000000"/>
              </a:solidFill>
              <a:ln w="9525"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B39B3810-C641-126D-CECF-20DBEF382650}"/>
                  </a:ext>
                </a:extLst>
              </p:cNvPr>
              <p:cNvSpPr/>
              <p:nvPr/>
            </p:nvSpPr>
            <p:spPr>
              <a:xfrm>
                <a:off x="2891790" y="2273236"/>
                <a:ext cx="132016" cy="578929"/>
              </a:xfrm>
              <a:custGeom>
                <a:avLst/>
                <a:gdLst>
                  <a:gd name="connsiteX0" fmla="*/ 0 w 132016"/>
                  <a:gd name="connsiteY0" fmla="*/ 0 h 578929"/>
                  <a:gd name="connsiteX1" fmla="*/ 132017 w 132016"/>
                  <a:gd name="connsiteY1" fmla="*/ 0 h 578929"/>
                  <a:gd name="connsiteX2" fmla="*/ 132017 w 132016"/>
                  <a:gd name="connsiteY2" fmla="*/ 106871 h 578929"/>
                  <a:gd name="connsiteX3" fmla="*/ 0 w 132016"/>
                  <a:gd name="connsiteY3" fmla="*/ 106871 h 578929"/>
                  <a:gd name="connsiteX4" fmla="*/ 0 w 132016"/>
                  <a:gd name="connsiteY4" fmla="*/ 0 h 578929"/>
                  <a:gd name="connsiteX5" fmla="*/ 0 w 132016"/>
                  <a:gd name="connsiteY5" fmla="*/ 164401 h 578929"/>
                  <a:gd name="connsiteX6" fmla="*/ 132017 w 132016"/>
                  <a:gd name="connsiteY6" fmla="*/ 164401 h 578929"/>
                  <a:gd name="connsiteX7" fmla="*/ 132017 w 132016"/>
                  <a:gd name="connsiteY7" fmla="*/ 578930 h 578929"/>
                  <a:gd name="connsiteX8" fmla="*/ 0 w 132016"/>
                  <a:gd name="connsiteY8" fmla="*/ 578930 h 578929"/>
                  <a:gd name="connsiteX9" fmla="*/ 0 w 132016"/>
                  <a:gd name="connsiteY9" fmla="*/ 164401 h 57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016" h="578929">
                    <a:moveTo>
                      <a:pt x="0" y="0"/>
                    </a:moveTo>
                    <a:lnTo>
                      <a:pt x="132017" y="0"/>
                    </a:lnTo>
                    <a:lnTo>
                      <a:pt x="132017" y="106871"/>
                    </a:lnTo>
                    <a:lnTo>
                      <a:pt x="0" y="106871"/>
                    </a:lnTo>
                    <a:lnTo>
                      <a:pt x="0" y="0"/>
                    </a:lnTo>
                    <a:close/>
                    <a:moveTo>
                      <a:pt x="0" y="164401"/>
                    </a:moveTo>
                    <a:lnTo>
                      <a:pt x="132017" y="164401"/>
                    </a:lnTo>
                    <a:lnTo>
                      <a:pt x="132017" y="578930"/>
                    </a:lnTo>
                    <a:lnTo>
                      <a:pt x="0" y="578930"/>
                    </a:lnTo>
                    <a:lnTo>
                      <a:pt x="0" y="164401"/>
                    </a:lnTo>
                    <a:close/>
                  </a:path>
                </a:pathLst>
              </a:custGeom>
              <a:solidFill>
                <a:srgbClr val="000000"/>
              </a:solidFill>
              <a:ln w="9525"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F5F42B44-2D8B-77F5-FBED-1ACAA3332AC4}"/>
                  </a:ext>
                </a:extLst>
              </p:cNvPr>
              <p:cNvSpPr/>
              <p:nvPr/>
            </p:nvSpPr>
            <p:spPr>
              <a:xfrm>
                <a:off x="3078860" y="2425445"/>
                <a:ext cx="401669" cy="426720"/>
              </a:xfrm>
              <a:custGeom>
                <a:avLst/>
                <a:gdLst>
                  <a:gd name="connsiteX0" fmla="*/ 0 w 401669"/>
                  <a:gd name="connsiteY0" fmla="*/ 12192 h 426720"/>
                  <a:gd name="connsiteX1" fmla="*/ 127159 w 401669"/>
                  <a:gd name="connsiteY1" fmla="*/ 12192 h 426720"/>
                  <a:gd name="connsiteX2" fmla="*/ 127159 w 401669"/>
                  <a:gd name="connsiteY2" fmla="*/ 68866 h 426720"/>
                  <a:gd name="connsiteX3" fmla="*/ 129635 w 401669"/>
                  <a:gd name="connsiteY3" fmla="*/ 68866 h 426720"/>
                  <a:gd name="connsiteX4" fmla="*/ 257556 w 401669"/>
                  <a:gd name="connsiteY4" fmla="*/ 0 h 426720"/>
                  <a:gd name="connsiteX5" fmla="*/ 401669 w 401669"/>
                  <a:gd name="connsiteY5" fmla="*/ 157067 h 426720"/>
                  <a:gd name="connsiteX6" fmla="*/ 401669 w 401669"/>
                  <a:gd name="connsiteY6" fmla="*/ 426720 h 426720"/>
                  <a:gd name="connsiteX7" fmla="*/ 269653 w 401669"/>
                  <a:gd name="connsiteY7" fmla="*/ 426720 h 426720"/>
                  <a:gd name="connsiteX8" fmla="*/ 269653 w 401669"/>
                  <a:gd name="connsiteY8" fmla="*/ 183833 h 426720"/>
                  <a:gd name="connsiteX9" fmla="*/ 204883 w 401669"/>
                  <a:gd name="connsiteY9" fmla="*/ 110109 h 426720"/>
                  <a:gd name="connsiteX10" fmla="*/ 132017 w 401669"/>
                  <a:gd name="connsiteY10" fmla="*/ 197549 h 426720"/>
                  <a:gd name="connsiteX11" fmla="*/ 132017 w 401669"/>
                  <a:gd name="connsiteY11" fmla="*/ 426720 h 426720"/>
                  <a:gd name="connsiteX12" fmla="*/ 0 w 401669"/>
                  <a:gd name="connsiteY12" fmla="*/ 426720 h 426720"/>
                  <a:gd name="connsiteX13" fmla="*/ 0 w 401669"/>
                  <a:gd name="connsiteY13" fmla="*/ 12192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69" h="426720">
                    <a:moveTo>
                      <a:pt x="0" y="12192"/>
                    </a:moveTo>
                    <a:lnTo>
                      <a:pt x="127159" y="12192"/>
                    </a:lnTo>
                    <a:lnTo>
                      <a:pt x="127159" y="68866"/>
                    </a:lnTo>
                    <a:lnTo>
                      <a:pt x="129635" y="68866"/>
                    </a:lnTo>
                    <a:cubicBezTo>
                      <a:pt x="160401" y="24289"/>
                      <a:pt x="200120" y="0"/>
                      <a:pt x="257556" y="0"/>
                    </a:cubicBezTo>
                    <a:cubicBezTo>
                      <a:pt x="348234" y="0"/>
                      <a:pt x="401669" y="64770"/>
                      <a:pt x="401669" y="157067"/>
                    </a:cubicBezTo>
                    <a:lnTo>
                      <a:pt x="401669" y="426720"/>
                    </a:lnTo>
                    <a:lnTo>
                      <a:pt x="269653" y="426720"/>
                    </a:lnTo>
                    <a:lnTo>
                      <a:pt x="269653" y="183833"/>
                    </a:lnTo>
                    <a:cubicBezTo>
                      <a:pt x="269653" y="140113"/>
                      <a:pt x="247745" y="110109"/>
                      <a:pt x="204883" y="110109"/>
                    </a:cubicBezTo>
                    <a:cubicBezTo>
                      <a:pt x="162020" y="110109"/>
                      <a:pt x="132017" y="146590"/>
                      <a:pt x="132017" y="197549"/>
                    </a:cubicBezTo>
                    <a:lnTo>
                      <a:pt x="132017" y="426720"/>
                    </a:lnTo>
                    <a:lnTo>
                      <a:pt x="0" y="426720"/>
                    </a:lnTo>
                    <a:lnTo>
                      <a:pt x="0" y="12192"/>
                    </a:lnTo>
                    <a:close/>
                  </a:path>
                </a:pathLst>
              </a:custGeom>
              <a:solidFill>
                <a:srgbClr val="000000"/>
              </a:solidFill>
              <a:ln w="9525"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B2C4035D-92A3-3853-6729-29550E0FFC91}"/>
                  </a:ext>
                </a:extLst>
              </p:cNvPr>
              <p:cNvSpPr/>
              <p:nvPr/>
            </p:nvSpPr>
            <p:spPr>
              <a:xfrm>
                <a:off x="4915185" y="2716149"/>
                <a:ext cx="138493" cy="136016"/>
              </a:xfrm>
              <a:custGeom>
                <a:avLst/>
                <a:gdLst>
                  <a:gd name="connsiteX0" fmla="*/ 0 w 138493"/>
                  <a:gd name="connsiteY0" fmla="*/ 0 h 136016"/>
                  <a:gd name="connsiteX1" fmla="*/ 138494 w 138493"/>
                  <a:gd name="connsiteY1" fmla="*/ 0 h 136016"/>
                  <a:gd name="connsiteX2" fmla="*/ 138494 w 138493"/>
                  <a:gd name="connsiteY2" fmla="*/ 136017 h 136016"/>
                  <a:gd name="connsiteX3" fmla="*/ 0 w 138493"/>
                  <a:gd name="connsiteY3" fmla="*/ 136017 h 136016"/>
                  <a:gd name="connsiteX4" fmla="*/ 0 w 138493"/>
                  <a:gd name="connsiteY4" fmla="*/ 0 h 13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493" h="136016">
                    <a:moveTo>
                      <a:pt x="0" y="0"/>
                    </a:moveTo>
                    <a:lnTo>
                      <a:pt x="138494" y="0"/>
                    </a:lnTo>
                    <a:lnTo>
                      <a:pt x="138494" y="136017"/>
                    </a:lnTo>
                    <a:lnTo>
                      <a:pt x="0" y="136017"/>
                    </a:lnTo>
                    <a:lnTo>
                      <a:pt x="0" y="0"/>
                    </a:lnTo>
                    <a:close/>
                  </a:path>
                </a:pathLst>
              </a:custGeom>
              <a:solidFill>
                <a:srgbClr val="000000"/>
              </a:solidFill>
              <a:ln w="9525" cap="flat">
                <a:noFill/>
                <a:prstDash val="solid"/>
                <a:miter/>
              </a:ln>
            </p:spPr>
            <p:txBody>
              <a:bodyPr rtlCol="0" anchor="ctr"/>
              <a:lstStyle/>
              <a:p>
                <a:endParaRPr lang="en-AU"/>
              </a:p>
            </p:txBody>
          </p:sp>
        </p:grpSp>
      </p:grpSp>
      <p:pic>
        <p:nvPicPr>
          <p:cNvPr id="2" name="Picture 1" descr="A black screen with white text&#10;&#10;Description automatically generated with medium confidence">
            <a:extLst>
              <a:ext uri="{FF2B5EF4-FFF2-40B4-BE49-F238E27FC236}">
                <a16:creationId xmlns:a16="http://schemas.microsoft.com/office/drawing/2014/main" id="{60E05381-EF92-527E-5827-3A9CE0B7C4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1099" y="6173769"/>
            <a:ext cx="828938" cy="291536"/>
          </a:xfrm>
          <a:prstGeom prst="rect">
            <a:avLst/>
          </a:prstGeom>
        </p:spPr>
      </p:pic>
      <p:sp>
        <p:nvSpPr>
          <p:cNvPr id="30" name="Footer Placeholder 4">
            <a:extLst>
              <a:ext uri="{FF2B5EF4-FFF2-40B4-BE49-F238E27FC236}">
                <a16:creationId xmlns:a16="http://schemas.microsoft.com/office/drawing/2014/main" id="{1848D18A-8192-A615-DC40-5BA0684EF664}"/>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077211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essaging Divider_driven to deliver">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A329DA71-97E7-DA2A-940E-0C722B295981}"/>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0" y="139148"/>
            <a:ext cx="12204000" cy="6725410"/>
          </a:xfrm>
          <a:prstGeom prst="rect">
            <a:avLst/>
          </a:prstGeom>
        </p:spPr>
      </p:pic>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grpSp>
        <p:nvGrpSpPr>
          <p:cNvPr id="75" name="Group 74">
            <a:extLst>
              <a:ext uri="{FF2B5EF4-FFF2-40B4-BE49-F238E27FC236}">
                <a16:creationId xmlns:a16="http://schemas.microsoft.com/office/drawing/2014/main" id="{6937C08C-B816-EE0D-07BE-E4659B2E7A56}"/>
              </a:ext>
            </a:extLst>
          </p:cNvPr>
          <p:cNvGrpSpPr/>
          <p:nvPr/>
        </p:nvGrpSpPr>
        <p:grpSpPr>
          <a:xfrm>
            <a:off x="1261641" y="1646522"/>
            <a:ext cx="9544089" cy="3260157"/>
            <a:chOff x="19266531" y="2166674"/>
            <a:chExt cx="3018758" cy="1031175"/>
          </a:xfrm>
        </p:grpSpPr>
        <p:grpSp>
          <p:nvGrpSpPr>
            <p:cNvPr id="51" name="Graphic 48">
              <a:extLst>
                <a:ext uri="{FF2B5EF4-FFF2-40B4-BE49-F238E27FC236}">
                  <a16:creationId xmlns:a16="http://schemas.microsoft.com/office/drawing/2014/main" id="{EEFE7FD2-2512-B1B3-3CC8-20983F46F0D9}"/>
                </a:ext>
              </a:extLst>
            </p:cNvPr>
            <p:cNvGrpSpPr/>
            <p:nvPr/>
          </p:nvGrpSpPr>
          <p:grpSpPr>
            <a:xfrm>
              <a:off x="19266531" y="2166674"/>
              <a:ext cx="1852898" cy="497776"/>
              <a:chOff x="19266531" y="2166674"/>
              <a:chExt cx="1852898" cy="497776"/>
            </a:xfrm>
            <a:solidFill>
              <a:srgbClr val="000000"/>
            </a:solidFill>
          </p:grpSpPr>
          <p:sp>
            <p:nvSpPr>
              <p:cNvPr id="52" name="Freeform: Shape 51">
                <a:extLst>
                  <a:ext uri="{FF2B5EF4-FFF2-40B4-BE49-F238E27FC236}">
                    <a16:creationId xmlns:a16="http://schemas.microsoft.com/office/drawing/2014/main" id="{1557C703-AF1C-3BBE-7F83-9B3116AA0C37}"/>
                  </a:ext>
                </a:extLst>
              </p:cNvPr>
              <p:cNvSpPr/>
              <p:nvPr/>
            </p:nvSpPr>
            <p:spPr>
              <a:xfrm>
                <a:off x="19266531" y="2166674"/>
                <a:ext cx="362807" cy="497776"/>
              </a:xfrm>
              <a:custGeom>
                <a:avLst/>
                <a:gdLst>
                  <a:gd name="connsiteX0" fmla="*/ 0 w 362807"/>
                  <a:gd name="connsiteY0" fmla="*/ 312515 h 497776"/>
                  <a:gd name="connsiteX1" fmla="*/ 152495 w 362807"/>
                  <a:gd name="connsiteY1" fmla="*/ 128016 h 497776"/>
                  <a:gd name="connsiteX2" fmla="*/ 249841 w 362807"/>
                  <a:gd name="connsiteY2" fmla="*/ 177737 h 497776"/>
                  <a:gd name="connsiteX3" fmla="*/ 251841 w 362807"/>
                  <a:gd name="connsiteY3" fmla="*/ 177737 h 497776"/>
                  <a:gd name="connsiteX4" fmla="*/ 251841 w 362807"/>
                  <a:gd name="connsiteY4" fmla="*/ 0 h 497776"/>
                  <a:gd name="connsiteX5" fmla="*/ 362808 w 362807"/>
                  <a:gd name="connsiteY5" fmla="*/ 0 h 497776"/>
                  <a:gd name="connsiteX6" fmla="*/ 362808 w 362807"/>
                  <a:gd name="connsiteY6" fmla="*/ 486823 h 497776"/>
                  <a:gd name="connsiteX7" fmla="*/ 256604 w 362807"/>
                  <a:gd name="connsiteY7" fmla="*/ 486823 h 497776"/>
                  <a:gd name="connsiteX8" fmla="*/ 256604 w 362807"/>
                  <a:gd name="connsiteY8" fmla="*/ 439865 h 497776"/>
                  <a:gd name="connsiteX9" fmla="*/ 255270 w 362807"/>
                  <a:gd name="connsiteY9" fmla="*/ 439865 h 497776"/>
                  <a:gd name="connsiteX10" fmla="*/ 152495 w 362807"/>
                  <a:gd name="connsiteY10" fmla="*/ 497776 h 497776"/>
                  <a:gd name="connsiteX11" fmla="*/ 0 w 362807"/>
                  <a:gd name="connsiteY11" fmla="*/ 312611 h 497776"/>
                  <a:gd name="connsiteX12" fmla="*/ 254699 w 362807"/>
                  <a:gd name="connsiteY12" fmla="*/ 312515 h 497776"/>
                  <a:gd name="connsiteX13" fmla="*/ 182499 w 362807"/>
                  <a:gd name="connsiteY13" fmla="*/ 211741 h 497776"/>
                  <a:gd name="connsiteX14" fmla="*/ 112395 w 362807"/>
                  <a:gd name="connsiteY14" fmla="*/ 311182 h 497776"/>
                  <a:gd name="connsiteX15" fmla="*/ 181166 w 362807"/>
                  <a:gd name="connsiteY15" fmla="*/ 409956 h 497776"/>
                  <a:gd name="connsiteX16" fmla="*/ 254699 w 362807"/>
                  <a:gd name="connsiteY16" fmla="*/ 312611 h 49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807" h="497776">
                    <a:moveTo>
                      <a:pt x="0" y="312515"/>
                    </a:moveTo>
                    <a:cubicBezTo>
                      <a:pt x="0" y="203549"/>
                      <a:pt x="62675" y="128016"/>
                      <a:pt x="152495" y="128016"/>
                    </a:cubicBezTo>
                    <a:cubicBezTo>
                      <a:pt x="201549" y="128016"/>
                      <a:pt x="229458" y="148400"/>
                      <a:pt x="249841" y="177737"/>
                    </a:cubicBezTo>
                    <a:lnTo>
                      <a:pt x="251841" y="177737"/>
                    </a:lnTo>
                    <a:lnTo>
                      <a:pt x="251841" y="0"/>
                    </a:lnTo>
                    <a:lnTo>
                      <a:pt x="362808" y="0"/>
                    </a:lnTo>
                    <a:lnTo>
                      <a:pt x="362808" y="486823"/>
                    </a:lnTo>
                    <a:lnTo>
                      <a:pt x="256604" y="486823"/>
                    </a:lnTo>
                    <a:lnTo>
                      <a:pt x="256604" y="439865"/>
                    </a:lnTo>
                    <a:lnTo>
                      <a:pt x="255270" y="439865"/>
                    </a:lnTo>
                    <a:cubicBezTo>
                      <a:pt x="234125" y="475964"/>
                      <a:pt x="198120" y="497776"/>
                      <a:pt x="152495" y="497776"/>
                    </a:cubicBezTo>
                    <a:cubicBezTo>
                      <a:pt x="63246" y="497776"/>
                      <a:pt x="0" y="429006"/>
                      <a:pt x="0" y="312611"/>
                    </a:cubicBezTo>
                    <a:close/>
                    <a:moveTo>
                      <a:pt x="254699" y="312515"/>
                    </a:moveTo>
                    <a:cubicBezTo>
                      <a:pt x="254699" y="253937"/>
                      <a:pt x="230886" y="211741"/>
                      <a:pt x="182499" y="211741"/>
                    </a:cubicBezTo>
                    <a:cubicBezTo>
                      <a:pt x="138208" y="211741"/>
                      <a:pt x="112395" y="252603"/>
                      <a:pt x="112395" y="311182"/>
                    </a:cubicBezTo>
                    <a:cubicBezTo>
                      <a:pt x="112395" y="369761"/>
                      <a:pt x="138303" y="409956"/>
                      <a:pt x="181166" y="409956"/>
                    </a:cubicBezTo>
                    <a:cubicBezTo>
                      <a:pt x="227457" y="409956"/>
                      <a:pt x="254699" y="369761"/>
                      <a:pt x="254699" y="312611"/>
                    </a:cubicBezTo>
                    <a:close/>
                  </a:path>
                </a:pathLst>
              </a:custGeom>
              <a:solidFill>
                <a:srgbClr val="000000"/>
              </a:solidFill>
              <a:ln w="9525" cap="flat">
                <a:noFill/>
                <a:prstDash val="solid"/>
                <a:miter/>
              </a:ln>
            </p:spPr>
            <p:txBody>
              <a:bodyPr rtlCol="0" anchor="ctr"/>
              <a:lstStyle/>
              <a:p>
                <a:endParaRPr lang="en-AU"/>
              </a:p>
            </p:txBody>
          </p:sp>
          <p:sp>
            <p:nvSpPr>
              <p:cNvPr id="53" name="Freeform: Shape 52">
                <a:extLst>
                  <a:ext uri="{FF2B5EF4-FFF2-40B4-BE49-F238E27FC236}">
                    <a16:creationId xmlns:a16="http://schemas.microsoft.com/office/drawing/2014/main" id="{F5DE6721-B0E0-DE01-2306-B17F8EE766E4}"/>
                  </a:ext>
                </a:extLst>
              </p:cNvPr>
              <p:cNvSpPr/>
              <p:nvPr/>
            </p:nvSpPr>
            <p:spPr>
              <a:xfrm>
                <a:off x="19677249" y="2299452"/>
                <a:ext cx="225361" cy="354139"/>
              </a:xfrm>
              <a:custGeom>
                <a:avLst/>
                <a:gdLst>
                  <a:gd name="connsiteX0" fmla="*/ 0 w 225361"/>
                  <a:gd name="connsiteY0" fmla="*/ 5429 h 354139"/>
                  <a:gd name="connsiteX1" fmla="*/ 106204 w 225361"/>
                  <a:gd name="connsiteY1" fmla="*/ 5429 h 354139"/>
                  <a:gd name="connsiteX2" fmla="*/ 106204 w 225361"/>
                  <a:gd name="connsiteY2" fmla="*/ 59912 h 354139"/>
                  <a:gd name="connsiteX3" fmla="*/ 108204 w 225361"/>
                  <a:gd name="connsiteY3" fmla="*/ 59912 h 354139"/>
                  <a:gd name="connsiteX4" fmla="*/ 203550 w 225361"/>
                  <a:gd name="connsiteY4" fmla="*/ 0 h 354139"/>
                  <a:gd name="connsiteX5" fmla="*/ 225362 w 225361"/>
                  <a:gd name="connsiteY5" fmla="*/ 2762 h 354139"/>
                  <a:gd name="connsiteX6" fmla="*/ 225362 w 225361"/>
                  <a:gd name="connsiteY6" fmla="*/ 98108 h 354139"/>
                  <a:gd name="connsiteX7" fmla="*/ 222600 w 225361"/>
                  <a:gd name="connsiteY7" fmla="*/ 98108 h 354139"/>
                  <a:gd name="connsiteX8" fmla="*/ 110966 w 225361"/>
                  <a:gd name="connsiteY8" fmla="*/ 197549 h 354139"/>
                  <a:gd name="connsiteX9" fmla="*/ 110966 w 225361"/>
                  <a:gd name="connsiteY9" fmla="*/ 354139 h 354139"/>
                  <a:gd name="connsiteX10" fmla="*/ 0 w 225361"/>
                  <a:gd name="connsiteY10" fmla="*/ 354139 h 354139"/>
                  <a:gd name="connsiteX11" fmla="*/ 0 w 225361"/>
                  <a:gd name="connsiteY11" fmla="*/ 5525 h 35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361" h="354139">
                    <a:moveTo>
                      <a:pt x="0" y="5429"/>
                    </a:moveTo>
                    <a:lnTo>
                      <a:pt x="106204" y="5429"/>
                    </a:lnTo>
                    <a:lnTo>
                      <a:pt x="106204" y="59912"/>
                    </a:lnTo>
                    <a:lnTo>
                      <a:pt x="108204" y="59912"/>
                    </a:lnTo>
                    <a:cubicBezTo>
                      <a:pt x="132684" y="18383"/>
                      <a:pt x="161354" y="0"/>
                      <a:pt x="203550" y="0"/>
                    </a:cubicBezTo>
                    <a:cubicBezTo>
                      <a:pt x="213741" y="0"/>
                      <a:pt x="220599" y="667"/>
                      <a:pt x="225362" y="2762"/>
                    </a:cubicBezTo>
                    <a:lnTo>
                      <a:pt x="225362" y="98108"/>
                    </a:lnTo>
                    <a:lnTo>
                      <a:pt x="222600" y="98108"/>
                    </a:lnTo>
                    <a:cubicBezTo>
                      <a:pt x="154496" y="88583"/>
                      <a:pt x="110966" y="121920"/>
                      <a:pt x="110966" y="197549"/>
                    </a:cubicBezTo>
                    <a:lnTo>
                      <a:pt x="110966" y="354139"/>
                    </a:lnTo>
                    <a:lnTo>
                      <a:pt x="0" y="354139"/>
                    </a:lnTo>
                    <a:lnTo>
                      <a:pt x="0" y="5525"/>
                    </a:lnTo>
                    <a:close/>
                  </a:path>
                </a:pathLst>
              </a:custGeom>
              <a:solidFill>
                <a:srgbClr val="000000"/>
              </a:solidFill>
              <a:ln w="9525" cap="flat">
                <a:noFill/>
                <a:prstDash val="solid"/>
                <a:miter/>
              </a:ln>
            </p:spPr>
            <p:txBody>
              <a:bodyPr rtlCol="0" anchor="ctr"/>
              <a:lstStyle/>
              <a:p>
                <a:endParaRPr lang="en-AU"/>
              </a:p>
            </p:txBody>
          </p:sp>
          <p:sp>
            <p:nvSpPr>
              <p:cNvPr id="54" name="Freeform: Shape 53">
                <a:extLst>
                  <a:ext uri="{FF2B5EF4-FFF2-40B4-BE49-F238E27FC236}">
                    <a16:creationId xmlns:a16="http://schemas.microsoft.com/office/drawing/2014/main" id="{D1B9630F-F15D-8C27-94CD-6AA581080001}"/>
                  </a:ext>
                </a:extLst>
              </p:cNvPr>
              <p:cNvSpPr/>
              <p:nvPr/>
            </p:nvSpPr>
            <p:spPr>
              <a:xfrm>
                <a:off x="19921661" y="2166674"/>
                <a:ext cx="110966" cy="486822"/>
              </a:xfrm>
              <a:custGeom>
                <a:avLst/>
                <a:gdLst>
                  <a:gd name="connsiteX0" fmla="*/ 0 w 110966"/>
                  <a:gd name="connsiteY0" fmla="*/ 0 h 486822"/>
                  <a:gd name="connsiteX1" fmla="*/ 110966 w 110966"/>
                  <a:gd name="connsiteY1" fmla="*/ 0 h 486822"/>
                  <a:gd name="connsiteX2" fmla="*/ 110966 w 110966"/>
                  <a:gd name="connsiteY2" fmla="*/ 89916 h 486822"/>
                  <a:gd name="connsiteX3" fmla="*/ 0 w 110966"/>
                  <a:gd name="connsiteY3" fmla="*/ 89916 h 486822"/>
                  <a:gd name="connsiteX4" fmla="*/ 0 w 110966"/>
                  <a:gd name="connsiteY4" fmla="*/ 0 h 486822"/>
                  <a:gd name="connsiteX5" fmla="*/ 0 w 110966"/>
                  <a:gd name="connsiteY5" fmla="*/ 138208 h 486822"/>
                  <a:gd name="connsiteX6" fmla="*/ 110966 w 110966"/>
                  <a:gd name="connsiteY6" fmla="*/ 138208 h 486822"/>
                  <a:gd name="connsiteX7" fmla="*/ 110966 w 110966"/>
                  <a:gd name="connsiteY7" fmla="*/ 486823 h 486822"/>
                  <a:gd name="connsiteX8" fmla="*/ 0 w 110966"/>
                  <a:gd name="connsiteY8" fmla="*/ 486823 h 486822"/>
                  <a:gd name="connsiteX9" fmla="*/ 0 w 110966"/>
                  <a:gd name="connsiteY9" fmla="*/ 138208 h 4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66" h="486822">
                    <a:moveTo>
                      <a:pt x="0" y="0"/>
                    </a:moveTo>
                    <a:lnTo>
                      <a:pt x="110966" y="0"/>
                    </a:lnTo>
                    <a:lnTo>
                      <a:pt x="110966" y="89916"/>
                    </a:lnTo>
                    <a:lnTo>
                      <a:pt x="0" y="89916"/>
                    </a:lnTo>
                    <a:lnTo>
                      <a:pt x="0" y="0"/>
                    </a:lnTo>
                    <a:close/>
                    <a:moveTo>
                      <a:pt x="0" y="138208"/>
                    </a:moveTo>
                    <a:lnTo>
                      <a:pt x="110966" y="138208"/>
                    </a:lnTo>
                    <a:lnTo>
                      <a:pt x="110966" y="486823"/>
                    </a:lnTo>
                    <a:lnTo>
                      <a:pt x="0" y="486823"/>
                    </a:lnTo>
                    <a:lnTo>
                      <a:pt x="0" y="138208"/>
                    </a:lnTo>
                    <a:close/>
                  </a:path>
                </a:pathLst>
              </a:custGeom>
              <a:solidFill>
                <a:srgbClr val="000000"/>
              </a:solidFill>
              <a:ln w="9525" cap="flat">
                <a:noFill/>
                <a:prstDash val="solid"/>
                <a:miter/>
              </a:ln>
            </p:spPr>
            <p:txBody>
              <a:bodyPr rtlCol="0" anchor="ctr"/>
              <a:lstStyle/>
              <a:p>
                <a:endParaRPr lang="en-AU"/>
              </a:p>
            </p:txBody>
          </p:sp>
          <p:sp>
            <p:nvSpPr>
              <p:cNvPr id="55" name="Freeform: Shape 54">
                <a:extLst>
                  <a:ext uri="{FF2B5EF4-FFF2-40B4-BE49-F238E27FC236}">
                    <a16:creationId xmlns:a16="http://schemas.microsoft.com/office/drawing/2014/main" id="{2D1B8AC2-B1A4-DC65-C518-CAD5C8F7CCAF}"/>
                  </a:ext>
                </a:extLst>
              </p:cNvPr>
              <p:cNvSpPr/>
              <p:nvPr/>
            </p:nvSpPr>
            <p:spPr>
              <a:xfrm>
                <a:off x="20047009" y="2304881"/>
                <a:ext cx="360807" cy="348615"/>
              </a:xfrm>
              <a:custGeom>
                <a:avLst/>
                <a:gdLst>
                  <a:gd name="connsiteX0" fmla="*/ 0 w 360807"/>
                  <a:gd name="connsiteY0" fmla="*/ 0 h 348615"/>
                  <a:gd name="connsiteX1" fmla="*/ 114395 w 360807"/>
                  <a:gd name="connsiteY1" fmla="*/ 0 h 348615"/>
                  <a:gd name="connsiteX2" fmla="*/ 162020 w 360807"/>
                  <a:gd name="connsiteY2" fmla="*/ 157258 h 348615"/>
                  <a:gd name="connsiteX3" fmla="*/ 181070 w 360807"/>
                  <a:gd name="connsiteY3" fmla="*/ 227362 h 348615"/>
                  <a:gd name="connsiteX4" fmla="*/ 182404 w 360807"/>
                  <a:gd name="connsiteY4" fmla="*/ 227362 h 348615"/>
                  <a:gd name="connsiteX5" fmla="*/ 201454 w 360807"/>
                  <a:gd name="connsiteY5" fmla="*/ 157258 h 348615"/>
                  <a:gd name="connsiteX6" fmla="*/ 249841 w 360807"/>
                  <a:gd name="connsiteY6" fmla="*/ 0 h 348615"/>
                  <a:gd name="connsiteX7" fmla="*/ 360807 w 360807"/>
                  <a:gd name="connsiteY7" fmla="*/ 0 h 348615"/>
                  <a:gd name="connsiteX8" fmla="*/ 240316 w 360807"/>
                  <a:gd name="connsiteY8" fmla="*/ 348615 h 348615"/>
                  <a:gd name="connsiteX9" fmla="*/ 120491 w 360807"/>
                  <a:gd name="connsiteY9" fmla="*/ 348615 h 348615"/>
                  <a:gd name="connsiteX10" fmla="*/ 0 w 360807"/>
                  <a:gd name="connsiteY10" fmla="*/ 0 h 34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0807" h="348615">
                    <a:moveTo>
                      <a:pt x="0" y="0"/>
                    </a:moveTo>
                    <a:lnTo>
                      <a:pt x="114395" y="0"/>
                    </a:lnTo>
                    <a:lnTo>
                      <a:pt x="162020" y="157258"/>
                    </a:lnTo>
                    <a:cubicBezTo>
                      <a:pt x="172212" y="192024"/>
                      <a:pt x="181070" y="227362"/>
                      <a:pt x="181070" y="227362"/>
                    </a:cubicBezTo>
                    <a:lnTo>
                      <a:pt x="182404" y="227362"/>
                    </a:lnTo>
                    <a:cubicBezTo>
                      <a:pt x="182404" y="227362"/>
                      <a:pt x="191262" y="191929"/>
                      <a:pt x="201454" y="157258"/>
                    </a:cubicBezTo>
                    <a:lnTo>
                      <a:pt x="249841" y="0"/>
                    </a:lnTo>
                    <a:lnTo>
                      <a:pt x="360807" y="0"/>
                    </a:lnTo>
                    <a:lnTo>
                      <a:pt x="240316" y="348615"/>
                    </a:lnTo>
                    <a:lnTo>
                      <a:pt x="120491" y="348615"/>
                    </a:lnTo>
                    <a:lnTo>
                      <a:pt x="0" y="0"/>
                    </a:lnTo>
                    <a:close/>
                  </a:path>
                </a:pathLst>
              </a:custGeom>
              <a:solidFill>
                <a:srgbClr val="000000"/>
              </a:solidFill>
              <a:ln w="9525" cap="flat">
                <a:noFill/>
                <a:prstDash val="solid"/>
                <a:miter/>
              </a:ln>
            </p:spPr>
            <p:txBody>
              <a:bodyPr rtlCol="0" anchor="ctr"/>
              <a:lstStyle/>
              <a:p>
                <a:endParaRPr lang="en-AU"/>
              </a:p>
            </p:txBody>
          </p:sp>
          <p:sp>
            <p:nvSpPr>
              <p:cNvPr id="56" name="Freeform: Shape 55">
                <a:extLst>
                  <a:ext uri="{FF2B5EF4-FFF2-40B4-BE49-F238E27FC236}">
                    <a16:creationId xmlns:a16="http://schemas.microsoft.com/office/drawing/2014/main" id="{49D07589-01D8-690B-EFFE-B3B4AC5FDA8E}"/>
                  </a:ext>
                </a:extLst>
              </p:cNvPr>
              <p:cNvSpPr/>
              <p:nvPr/>
            </p:nvSpPr>
            <p:spPr>
              <a:xfrm>
                <a:off x="20392100" y="2294690"/>
                <a:ext cx="359589" cy="369093"/>
              </a:xfrm>
              <a:custGeom>
                <a:avLst/>
                <a:gdLst>
                  <a:gd name="connsiteX0" fmla="*/ 95 w 359589"/>
                  <a:gd name="connsiteY0" fmla="*/ 183833 h 369093"/>
                  <a:gd name="connsiteX1" fmla="*/ 179165 w 359589"/>
                  <a:gd name="connsiteY1" fmla="*/ 0 h 369093"/>
                  <a:gd name="connsiteX2" fmla="*/ 298323 w 359589"/>
                  <a:gd name="connsiteY2" fmla="*/ 43625 h 369093"/>
                  <a:gd name="connsiteX3" fmla="*/ 359569 w 359589"/>
                  <a:gd name="connsiteY3" fmla="*/ 213170 h 369093"/>
                  <a:gd name="connsiteX4" fmla="*/ 108966 w 359589"/>
                  <a:gd name="connsiteY4" fmla="*/ 213170 h 369093"/>
                  <a:gd name="connsiteX5" fmla="*/ 187261 w 359589"/>
                  <a:gd name="connsiteY5" fmla="*/ 289465 h 369093"/>
                  <a:gd name="connsiteX6" fmla="*/ 245173 w 359589"/>
                  <a:gd name="connsiteY6" fmla="*/ 254699 h 369093"/>
                  <a:gd name="connsiteX7" fmla="*/ 353473 w 359589"/>
                  <a:gd name="connsiteY7" fmla="*/ 254699 h 369093"/>
                  <a:gd name="connsiteX8" fmla="*/ 294894 w 359589"/>
                  <a:gd name="connsiteY8" fmla="*/ 337090 h 369093"/>
                  <a:gd name="connsiteX9" fmla="*/ 185928 w 359589"/>
                  <a:gd name="connsiteY9" fmla="*/ 369094 h 369093"/>
                  <a:gd name="connsiteX10" fmla="*/ 0 w 359589"/>
                  <a:gd name="connsiteY10" fmla="*/ 183928 h 369093"/>
                  <a:gd name="connsiteX11" fmla="*/ 247269 w 359589"/>
                  <a:gd name="connsiteY11" fmla="*/ 147066 h 369093"/>
                  <a:gd name="connsiteX12" fmla="*/ 181260 w 359589"/>
                  <a:gd name="connsiteY12" fmla="*/ 78962 h 369093"/>
                  <a:gd name="connsiteX13" fmla="*/ 109728 w 359589"/>
                  <a:gd name="connsiteY13" fmla="*/ 147066 h 369093"/>
                  <a:gd name="connsiteX14" fmla="*/ 247269 w 359589"/>
                  <a:gd name="connsiteY14" fmla="*/ 147066 h 3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9589" h="369093">
                    <a:moveTo>
                      <a:pt x="95" y="183833"/>
                    </a:moveTo>
                    <a:cubicBezTo>
                      <a:pt x="95" y="79629"/>
                      <a:pt x="72961" y="0"/>
                      <a:pt x="179165" y="0"/>
                    </a:cubicBezTo>
                    <a:cubicBezTo>
                      <a:pt x="228885" y="0"/>
                      <a:pt x="268319" y="16383"/>
                      <a:pt x="298323" y="43625"/>
                    </a:cubicBezTo>
                    <a:cubicBezTo>
                      <a:pt x="339852" y="81725"/>
                      <a:pt x="360330" y="142399"/>
                      <a:pt x="359569" y="213170"/>
                    </a:cubicBezTo>
                    <a:lnTo>
                      <a:pt x="108966" y="213170"/>
                    </a:lnTo>
                    <a:cubicBezTo>
                      <a:pt x="115728" y="260128"/>
                      <a:pt x="141637" y="289465"/>
                      <a:pt x="187261" y="289465"/>
                    </a:cubicBezTo>
                    <a:cubicBezTo>
                      <a:pt x="216503" y="289465"/>
                      <a:pt x="235648" y="276511"/>
                      <a:pt x="245173" y="254699"/>
                    </a:cubicBezTo>
                    <a:lnTo>
                      <a:pt x="353473" y="254699"/>
                    </a:lnTo>
                    <a:cubicBezTo>
                      <a:pt x="345948" y="286036"/>
                      <a:pt x="325564" y="315944"/>
                      <a:pt x="294894" y="337090"/>
                    </a:cubicBezTo>
                    <a:cubicBezTo>
                      <a:pt x="265652" y="357473"/>
                      <a:pt x="230219" y="369094"/>
                      <a:pt x="185928" y="369094"/>
                    </a:cubicBezTo>
                    <a:cubicBezTo>
                      <a:pt x="70866" y="369094"/>
                      <a:pt x="0" y="289465"/>
                      <a:pt x="0" y="183928"/>
                    </a:cubicBezTo>
                    <a:close/>
                    <a:moveTo>
                      <a:pt x="247269" y="147066"/>
                    </a:moveTo>
                    <a:cubicBezTo>
                      <a:pt x="243173" y="105537"/>
                      <a:pt x="217265" y="78962"/>
                      <a:pt x="181260" y="78962"/>
                    </a:cubicBezTo>
                    <a:cubicBezTo>
                      <a:pt x="139065" y="78962"/>
                      <a:pt x="117253" y="105537"/>
                      <a:pt x="109728" y="147066"/>
                    </a:cubicBezTo>
                    <a:lnTo>
                      <a:pt x="247269" y="147066"/>
                    </a:lnTo>
                    <a:close/>
                  </a:path>
                </a:pathLst>
              </a:custGeom>
              <a:solidFill>
                <a:srgbClr val="000000"/>
              </a:solidFill>
              <a:ln w="9525" cap="flat">
                <a:noFill/>
                <a:prstDash val="solid"/>
                <a:miter/>
              </a:ln>
            </p:spPr>
            <p:txBody>
              <a:bodyPr rtlCol="0" anchor="ctr"/>
              <a:lstStyle/>
              <a:p>
                <a:endParaRPr lang="en-AU"/>
              </a:p>
            </p:txBody>
          </p:sp>
          <p:sp>
            <p:nvSpPr>
              <p:cNvPr id="57" name="Freeform: Shape 56">
                <a:extLst>
                  <a:ext uri="{FF2B5EF4-FFF2-40B4-BE49-F238E27FC236}">
                    <a16:creationId xmlns:a16="http://schemas.microsoft.com/office/drawing/2014/main" id="{332DDAC7-A7F9-0E51-1013-B476AD31D781}"/>
                  </a:ext>
                </a:extLst>
              </p:cNvPr>
              <p:cNvSpPr/>
              <p:nvPr/>
            </p:nvSpPr>
            <p:spPr>
              <a:xfrm>
                <a:off x="20781768" y="2294595"/>
                <a:ext cx="337661" cy="358901"/>
              </a:xfrm>
              <a:custGeom>
                <a:avLst/>
                <a:gdLst>
                  <a:gd name="connsiteX0" fmla="*/ 0 w 337661"/>
                  <a:gd name="connsiteY0" fmla="*/ 10287 h 358901"/>
                  <a:gd name="connsiteX1" fmla="*/ 106871 w 337661"/>
                  <a:gd name="connsiteY1" fmla="*/ 10287 h 358901"/>
                  <a:gd name="connsiteX2" fmla="*/ 106871 w 337661"/>
                  <a:gd name="connsiteY2" fmla="*/ 57912 h 358901"/>
                  <a:gd name="connsiteX3" fmla="*/ 108871 w 337661"/>
                  <a:gd name="connsiteY3" fmla="*/ 57912 h 358901"/>
                  <a:gd name="connsiteX4" fmla="*/ 216503 w 337661"/>
                  <a:gd name="connsiteY4" fmla="*/ 0 h 358901"/>
                  <a:gd name="connsiteX5" fmla="*/ 337661 w 337661"/>
                  <a:gd name="connsiteY5" fmla="*/ 132112 h 358901"/>
                  <a:gd name="connsiteX6" fmla="*/ 337661 w 337661"/>
                  <a:gd name="connsiteY6" fmla="*/ 358902 h 358901"/>
                  <a:gd name="connsiteX7" fmla="*/ 226695 w 337661"/>
                  <a:gd name="connsiteY7" fmla="*/ 358902 h 358901"/>
                  <a:gd name="connsiteX8" fmla="*/ 226695 w 337661"/>
                  <a:gd name="connsiteY8" fmla="*/ 154591 h 358901"/>
                  <a:gd name="connsiteX9" fmla="*/ 172212 w 337661"/>
                  <a:gd name="connsiteY9" fmla="*/ 92583 h 358901"/>
                  <a:gd name="connsiteX10" fmla="*/ 110966 w 337661"/>
                  <a:gd name="connsiteY10" fmla="*/ 166116 h 358901"/>
                  <a:gd name="connsiteX11" fmla="*/ 110966 w 337661"/>
                  <a:gd name="connsiteY11" fmla="*/ 358807 h 358901"/>
                  <a:gd name="connsiteX12" fmla="*/ 0 w 337661"/>
                  <a:gd name="connsiteY12" fmla="*/ 358807 h 358901"/>
                  <a:gd name="connsiteX13" fmla="*/ 0 w 337661"/>
                  <a:gd name="connsiteY13" fmla="*/ 10192 h 35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7661" h="358901">
                    <a:moveTo>
                      <a:pt x="0" y="10287"/>
                    </a:moveTo>
                    <a:lnTo>
                      <a:pt x="106871" y="10287"/>
                    </a:lnTo>
                    <a:lnTo>
                      <a:pt x="106871" y="57912"/>
                    </a:lnTo>
                    <a:lnTo>
                      <a:pt x="108871" y="57912"/>
                    </a:lnTo>
                    <a:cubicBezTo>
                      <a:pt x="134779" y="20479"/>
                      <a:pt x="168116" y="0"/>
                      <a:pt x="216503" y="0"/>
                    </a:cubicBezTo>
                    <a:cubicBezTo>
                      <a:pt x="292798" y="0"/>
                      <a:pt x="337661" y="54483"/>
                      <a:pt x="337661" y="132112"/>
                    </a:cubicBezTo>
                    <a:lnTo>
                      <a:pt x="337661" y="358902"/>
                    </a:lnTo>
                    <a:lnTo>
                      <a:pt x="226695" y="358902"/>
                    </a:lnTo>
                    <a:lnTo>
                      <a:pt x="226695" y="154591"/>
                    </a:lnTo>
                    <a:cubicBezTo>
                      <a:pt x="226695" y="117824"/>
                      <a:pt x="208312" y="92583"/>
                      <a:pt x="172212" y="92583"/>
                    </a:cubicBezTo>
                    <a:cubicBezTo>
                      <a:pt x="136112" y="92583"/>
                      <a:pt x="110966" y="123253"/>
                      <a:pt x="110966" y="166116"/>
                    </a:cubicBezTo>
                    <a:lnTo>
                      <a:pt x="110966" y="358807"/>
                    </a:lnTo>
                    <a:lnTo>
                      <a:pt x="0" y="358807"/>
                    </a:lnTo>
                    <a:lnTo>
                      <a:pt x="0" y="10192"/>
                    </a:lnTo>
                    <a:close/>
                  </a:path>
                </a:pathLst>
              </a:custGeom>
              <a:solidFill>
                <a:srgbClr val="000000"/>
              </a:solidFill>
              <a:ln w="9525" cap="flat">
                <a:noFill/>
                <a:prstDash val="solid"/>
                <a:miter/>
              </a:ln>
            </p:spPr>
            <p:txBody>
              <a:bodyPr rtlCol="0" anchor="ctr"/>
              <a:lstStyle/>
              <a:p>
                <a:endParaRPr lang="en-AU"/>
              </a:p>
            </p:txBody>
          </p:sp>
        </p:grpSp>
        <p:sp>
          <p:nvSpPr>
            <p:cNvPr id="58" name="Freeform: Shape 57">
              <a:extLst>
                <a:ext uri="{FF2B5EF4-FFF2-40B4-BE49-F238E27FC236}">
                  <a16:creationId xmlns:a16="http://schemas.microsoft.com/office/drawing/2014/main" id="{0134271A-842E-337F-A86C-6722102F8816}"/>
                </a:ext>
              </a:extLst>
            </p:cNvPr>
            <p:cNvSpPr/>
            <p:nvPr/>
          </p:nvSpPr>
          <p:spPr>
            <a:xfrm>
              <a:off x="19472271" y="2723696"/>
              <a:ext cx="217932" cy="463010"/>
            </a:xfrm>
            <a:custGeom>
              <a:avLst/>
              <a:gdLst>
                <a:gd name="connsiteX0" fmla="*/ 46291 w 217932"/>
                <a:gd name="connsiteY0" fmla="*/ 366998 h 463010"/>
                <a:gd name="connsiteX1" fmla="*/ 46291 w 217932"/>
                <a:gd name="connsiteY1" fmla="*/ 179737 h 463010"/>
                <a:gd name="connsiteX2" fmla="*/ 0 w 217932"/>
                <a:gd name="connsiteY2" fmla="*/ 179737 h 463010"/>
                <a:gd name="connsiteX3" fmla="*/ 0 w 217932"/>
                <a:gd name="connsiteY3" fmla="*/ 110300 h 463010"/>
                <a:gd name="connsiteX4" fmla="*/ 46291 w 217932"/>
                <a:gd name="connsiteY4" fmla="*/ 110300 h 463010"/>
                <a:gd name="connsiteX5" fmla="*/ 46291 w 217932"/>
                <a:gd name="connsiteY5" fmla="*/ 0 h 463010"/>
                <a:gd name="connsiteX6" fmla="*/ 154591 w 217932"/>
                <a:gd name="connsiteY6" fmla="*/ 0 h 463010"/>
                <a:gd name="connsiteX7" fmla="*/ 154591 w 217932"/>
                <a:gd name="connsiteY7" fmla="*/ 110300 h 463010"/>
                <a:gd name="connsiteX8" fmla="*/ 217932 w 217932"/>
                <a:gd name="connsiteY8" fmla="*/ 110300 h 463010"/>
                <a:gd name="connsiteX9" fmla="*/ 217932 w 217932"/>
                <a:gd name="connsiteY9" fmla="*/ 179737 h 463010"/>
                <a:gd name="connsiteX10" fmla="*/ 154591 w 217932"/>
                <a:gd name="connsiteY10" fmla="*/ 179737 h 463010"/>
                <a:gd name="connsiteX11" fmla="*/ 154591 w 217932"/>
                <a:gd name="connsiteY11" fmla="*/ 343186 h 463010"/>
                <a:gd name="connsiteX12" fmla="*/ 193453 w 217932"/>
                <a:gd name="connsiteY12" fmla="*/ 377190 h 463010"/>
                <a:gd name="connsiteX13" fmla="*/ 217932 w 217932"/>
                <a:gd name="connsiteY13" fmla="*/ 376523 h 463010"/>
                <a:gd name="connsiteX14" fmla="*/ 217932 w 217932"/>
                <a:gd name="connsiteY14" fmla="*/ 457581 h 463010"/>
                <a:gd name="connsiteX15" fmla="*/ 157353 w 217932"/>
                <a:gd name="connsiteY15" fmla="*/ 463010 h 463010"/>
                <a:gd name="connsiteX16" fmla="*/ 46387 w 217932"/>
                <a:gd name="connsiteY16" fmla="*/ 366998 h 4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7932" h="463010">
                  <a:moveTo>
                    <a:pt x="46291" y="366998"/>
                  </a:moveTo>
                  <a:lnTo>
                    <a:pt x="46291" y="179737"/>
                  </a:lnTo>
                  <a:lnTo>
                    <a:pt x="0" y="179737"/>
                  </a:lnTo>
                  <a:lnTo>
                    <a:pt x="0" y="110300"/>
                  </a:lnTo>
                  <a:lnTo>
                    <a:pt x="46291" y="110300"/>
                  </a:lnTo>
                  <a:lnTo>
                    <a:pt x="46291" y="0"/>
                  </a:lnTo>
                  <a:lnTo>
                    <a:pt x="154591" y="0"/>
                  </a:lnTo>
                  <a:lnTo>
                    <a:pt x="154591" y="110300"/>
                  </a:lnTo>
                  <a:lnTo>
                    <a:pt x="217932" y="110300"/>
                  </a:lnTo>
                  <a:lnTo>
                    <a:pt x="217932" y="179737"/>
                  </a:lnTo>
                  <a:lnTo>
                    <a:pt x="154591" y="179737"/>
                  </a:lnTo>
                  <a:lnTo>
                    <a:pt x="154591" y="343186"/>
                  </a:lnTo>
                  <a:cubicBezTo>
                    <a:pt x="154591" y="370427"/>
                    <a:pt x="169545" y="377190"/>
                    <a:pt x="193453" y="377190"/>
                  </a:cubicBezTo>
                  <a:cubicBezTo>
                    <a:pt x="202978" y="377190"/>
                    <a:pt x="213836" y="376523"/>
                    <a:pt x="217932" y="376523"/>
                  </a:cubicBezTo>
                  <a:lnTo>
                    <a:pt x="217932" y="457581"/>
                  </a:lnTo>
                  <a:cubicBezTo>
                    <a:pt x="208407" y="460343"/>
                    <a:pt x="187261" y="463010"/>
                    <a:pt x="157353" y="463010"/>
                  </a:cubicBezTo>
                  <a:cubicBezTo>
                    <a:pt x="92678" y="463010"/>
                    <a:pt x="46387" y="441865"/>
                    <a:pt x="46387" y="366998"/>
                  </a:cubicBezTo>
                  <a:close/>
                </a:path>
              </a:pathLst>
            </a:custGeom>
            <a:solidFill>
              <a:srgbClr val="000000"/>
            </a:solidFill>
            <a:ln w="9525" cap="flat">
              <a:noFill/>
              <a:prstDash val="solid"/>
              <a:miter/>
            </a:ln>
          </p:spPr>
          <p:txBody>
            <a:bodyPr rtlCol="0" anchor="ctr"/>
            <a:lstStyle/>
            <a:p>
              <a:endParaRPr lang="en-AU"/>
            </a:p>
          </p:txBody>
        </p:sp>
        <p:grpSp>
          <p:nvGrpSpPr>
            <p:cNvPr id="59" name="Graphic 48">
              <a:extLst>
                <a:ext uri="{FF2B5EF4-FFF2-40B4-BE49-F238E27FC236}">
                  <a16:creationId xmlns:a16="http://schemas.microsoft.com/office/drawing/2014/main" id="{E05A8F46-DDCA-7674-E0D9-7002F62137A1}"/>
                </a:ext>
              </a:extLst>
            </p:cNvPr>
            <p:cNvGrpSpPr/>
            <p:nvPr/>
          </p:nvGrpSpPr>
          <p:grpSpPr>
            <a:xfrm>
              <a:off x="20166167" y="2695788"/>
              <a:ext cx="2119122" cy="497776"/>
              <a:chOff x="20166167" y="2695788"/>
              <a:chExt cx="2119122" cy="497776"/>
            </a:xfrm>
            <a:solidFill>
              <a:srgbClr val="000000"/>
            </a:solidFill>
          </p:grpSpPr>
          <p:sp>
            <p:nvSpPr>
              <p:cNvPr id="60" name="Freeform: Shape 59">
                <a:extLst>
                  <a:ext uri="{FF2B5EF4-FFF2-40B4-BE49-F238E27FC236}">
                    <a16:creationId xmlns:a16="http://schemas.microsoft.com/office/drawing/2014/main" id="{D3F84D6A-0E55-0700-E919-5A6F177EA31F}"/>
                  </a:ext>
                </a:extLst>
              </p:cNvPr>
              <p:cNvSpPr/>
              <p:nvPr/>
            </p:nvSpPr>
            <p:spPr>
              <a:xfrm>
                <a:off x="20166167" y="2695788"/>
                <a:ext cx="362807" cy="497776"/>
              </a:xfrm>
              <a:custGeom>
                <a:avLst/>
                <a:gdLst>
                  <a:gd name="connsiteX0" fmla="*/ 0 w 362807"/>
                  <a:gd name="connsiteY0" fmla="*/ 312515 h 497776"/>
                  <a:gd name="connsiteX1" fmla="*/ 152495 w 362807"/>
                  <a:gd name="connsiteY1" fmla="*/ 128016 h 497776"/>
                  <a:gd name="connsiteX2" fmla="*/ 249841 w 362807"/>
                  <a:gd name="connsiteY2" fmla="*/ 177737 h 497776"/>
                  <a:gd name="connsiteX3" fmla="*/ 251841 w 362807"/>
                  <a:gd name="connsiteY3" fmla="*/ 177737 h 497776"/>
                  <a:gd name="connsiteX4" fmla="*/ 251841 w 362807"/>
                  <a:gd name="connsiteY4" fmla="*/ 0 h 497776"/>
                  <a:gd name="connsiteX5" fmla="*/ 362808 w 362807"/>
                  <a:gd name="connsiteY5" fmla="*/ 0 h 497776"/>
                  <a:gd name="connsiteX6" fmla="*/ 362808 w 362807"/>
                  <a:gd name="connsiteY6" fmla="*/ 486823 h 497776"/>
                  <a:gd name="connsiteX7" fmla="*/ 256604 w 362807"/>
                  <a:gd name="connsiteY7" fmla="*/ 486823 h 497776"/>
                  <a:gd name="connsiteX8" fmla="*/ 256604 w 362807"/>
                  <a:gd name="connsiteY8" fmla="*/ 439864 h 497776"/>
                  <a:gd name="connsiteX9" fmla="*/ 255270 w 362807"/>
                  <a:gd name="connsiteY9" fmla="*/ 439864 h 497776"/>
                  <a:gd name="connsiteX10" fmla="*/ 152495 w 362807"/>
                  <a:gd name="connsiteY10" fmla="*/ 497777 h 497776"/>
                  <a:gd name="connsiteX11" fmla="*/ 0 w 362807"/>
                  <a:gd name="connsiteY11" fmla="*/ 312611 h 497776"/>
                  <a:gd name="connsiteX12" fmla="*/ 254698 w 362807"/>
                  <a:gd name="connsiteY12" fmla="*/ 312515 h 497776"/>
                  <a:gd name="connsiteX13" fmla="*/ 182499 w 362807"/>
                  <a:gd name="connsiteY13" fmla="*/ 211741 h 497776"/>
                  <a:gd name="connsiteX14" fmla="*/ 112395 w 362807"/>
                  <a:gd name="connsiteY14" fmla="*/ 311182 h 497776"/>
                  <a:gd name="connsiteX15" fmla="*/ 181166 w 362807"/>
                  <a:gd name="connsiteY15" fmla="*/ 409956 h 497776"/>
                  <a:gd name="connsiteX16" fmla="*/ 254698 w 362807"/>
                  <a:gd name="connsiteY16" fmla="*/ 312611 h 49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807" h="497776">
                    <a:moveTo>
                      <a:pt x="0" y="312515"/>
                    </a:moveTo>
                    <a:cubicBezTo>
                      <a:pt x="0" y="203549"/>
                      <a:pt x="62675" y="128016"/>
                      <a:pt x="152495" y="128016"/>
                    </a:cubicBezTo>
                    <a:cubicBezTo>
                      <a:pt x="201549" y="128016"/>
                      <a:pt x="229458" y="148400"/>
                      <a:pt x="249841" y="177737"/>
                    </a:cubicBezTo>
                    <a:lnTo>
                      <a:pt x="251841" y="177737"/>
                    </a:lnTo>
                    <a:lnTo>
                      <a:pt x="251841" y="0"/>
                    </a:lnTo>
                    <a:lnTo>
                      <a:pt x="362808" y="0"/>
                    </a:lnTo>
                    <a:lnTo>
                      <a:pt x="362808" y="486823"/>
                    </a:lnTo>
                    <a:lnTo>
                      <a:pt x="256604" y="486823"/>
                    </a:lnTo>
                    <a:lnTo>
                      <a:pt x="256604" y="439864"/>
                    </a:lnTo>
                    <a:lnTo>
                      <a:pt x="255270" y="439864"/>
                    </a:lnTo>
                    <a:cubicBezTo>
                      <a:pt x="234125" y="475964"/>
                      <a:pt x="198120" y="497777"/>
                      <a:pt x="152495" y="497777"/>
                    </a:cubicBezTo>
                    <a:cubicBezTo>
                      <a:pt x="63246" y="497777"/>
                      <a:pt x="0" y="429006"/>
                      <a:pt x="0" y="312611"/>
                    </a:cubicBezTo>
                    <a:close/>
                    <a:moveTo>
                      <a:pt x="254698" y="312515"/>
                    </a:moveTo>
                    <a:cubicBezTo>
                      <a:pt x="254698" y="253937"/>
                      <a:pt x="230886" y="211741"/>
                      <a:pt x="182499" y="211741"/>
                    </a:cubicBezTo>
                    <a:cubicBezTo>
                      <a:pt x="138208" y="211741"/>
                      <a:pt x="112395" y="252603"/>
                      <a:pt x="112395" y="311182"/>
                    </a:cubicBezTo>
                    <a:cubicBezTo>
                      <a:pt x="112395" y="369761"/>
                      <a:pt x="138303" y="409956"/>
                      <a:pt x="181166" y="409956"/>
                    </a:cubicBezTo>
                    <a:cubicBezTo>
                      <a:pt x="227457" y="409956"/>
                      <a:pt x="254698" y="369761"/>
                      <a:pt x="254698" y="312611"/>
                    </a:cubicBezTo>
                    <a:close/>
                  </a:path>
                </a:pathLst>
              </a:custGeom>
              <a:solidFill>
                <a:srgbClr val="000000"/>
              </a:solidFill>
              <a:ln w="9525" cap="flat">
                <a:noFill/>
                <a:prstDash val="solid"/>
                <a:miter/>
              </a:ln>
            </p:spPr>
            <p:txBody>
              <a:bodyPr rtlCol="0" anchor="ctr"/>
              <a:lstStyle/>
              <a:p>
                <a:endParaRPr lang="en-AU"/>
              </a:p>
            </p:txBody>
          </p:sp>
          <p:sp>
            <p:nvSpPr>
              <p:cNvPr id="61" name="Freeform: Shape 60">
                <a:extLst>
                  <a:ext uri="{FF2B5EF4-FFF2-40B4-BE49-F238E27FC236}">
                    <a16:creationId xmlns:a16="http://schemas.microsoft.com/office/drawing/2014/main" id="{C03D9B3A-2F24-8DFB-BC39-F8A00A1F1E99}"/>
                  </a:ext>
                </a:extLst>
              </p:cNvPr>
              <p:cNvSpPr/>
              <p:nvPr/>
            </p:nvSpPr>
            <p:spPr>
              <a:xfrm>
                <a:off x="20559645" y="2823804"/>
                <a:ext cx="359589" cy="369093"/>
              </a:xfrm>
              <a:custGeom>
                <a:avLst/>
                <a:gdLst>
                  <a:gd name="connsiteX0" fmla="*/ 95 w 359589"/>
                  <a:gd name="connsiteY0" fmla="*/ 183832 h 369093"/>
                  <a:gd name="connsiteX1" fmla="*/ 179165 w 359589"/>
                  <a:gd name="connsiteY1" fmla="*/ 0 h 369093"/>
                  <a:gd name="connsiteX2" fmla="*/ 298323 w 359589"/>
                  <a:gd name="connsiteY2" fmla="*/ 43625 h 369093"/>
                  <a:gd name="connsiteX3" fmla="*/ 359569 w 359589"/>
                  <a:gd name="connsiteY3" fmla="*/ 213170 h 369093"/>
                  <a:gd name="connsiteX4" fmla="*/ 108966 w 359589"/>
                  <a:gd name="connsiteY4" fmla="*/ 213170 h 369093"/>
                  <a:gd name="connsiteX5" fmla="*/ 187262 w 359589"/>
                  <a:gd name="connsiteY5" fmla="*/ 289465 h 369093"/>
                  <a:gd name="connsiteX6" fmla="*/ 245173 w 359589"/>
                  <a:gd name="connsiteY6" fmla="*/ 254698 h 369093"/>
                  <a:gd name="connsiteX7" fmla="*/ 353473 w 359589"/>
                  <a:gd name="connsiteY7" fmla="*/ 254698 h 369093"/>
                  <a:gd name="connsiteX8" fmla="*/ 294894 w 359589"/>
                  <a:gd name="connsiteY8" fmla="*/ 337090 h 369093"/>
                  <a:gd name="connsiteX9" fmla="*/ 185928 w 359589"/>
                  <a:gd name="connsiteY9" fmla="*/ 369094 h 369093"/>
                  <a:gd name="connsiteX10" fmla="*/ 0 w 359589"/>
                  <a:gd name="connsiteY10" fmla="*/ 183928 h 369093"/>
                  <a:gd name="connsiteX11" fmla="*/ 247269 w 359589"/>
                  <a:gd name="connsiteY11" fmla="*/ 147066 h 369093"/>
                  <a:gd name="connsiteX12" fmla="*/ 181261 w 359589"/>
                  <a:gd name="connsiteY12" fmla="*/ 78962 h 369093"/>
                  <a:gd name="connsiteX13" fmla="*/ 109728 w 359589"/>
                  <a:gd name="connsiteY13" fmla="*/ 147066 h 369093"/>
                  <a:gd name="connsiteX14" fmla="*/ 247269 w 359589"/>
                  <a:gd name="connsiteY14" fmla="*/ 147066 h 3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9589" h="369093">
                    <a:moveTo>
                      <a:pt x="95" y="183832"/>
                    </a:moveTo>
                    <a:cubicBezTo>
                      <a:pt x="95" y="79629"/>
                      <a:pt x="72962" y="0"/>
                      <a:pt x="179165" y="0"/>
                    </a:cubicBezTo>
                    <a:cubicBezTo>
                      <a:pt x="228886" y="0"/>
                      <a:pt x="268320" y="16383"/>
                      <a:pt x="298323" y="43625"/>
                    </a:cubicBezTo>
                    <a:cubicBezTo>
                      <a:pt x="339852" y="81725"/>
                      <a:pt x="360331" y="142399"/>
                      <a:pt x="359569" y="213170"/>
                    </a:cubicBezTo>
                    <a:lnTo>
                      <a:pt x="108966" y="213170"/>
                    </a:lnTo>
                    <a:cubicBezTo>
                      <a:pt x="115729" y="260128"/>
                      <a:pt x="141637" y="289465"/>
                      <a:pt x="187262" y="289465"/>
                    </a:cubicBezTo>
                    <a:cubicBezTo>
                      <a:pt x="216504" y="289465"/>
                      <a:pt x="235648" y="276511"/>
                      <a:pt x="245173" y="254698"/>
                    </a:cubicBezTo>
                    <a:lnTo>
                      <a:pt x="353473" y="254698"/>
                    </a:lnTo>
                    <a:cubicBezTo>
                      <a:pt x="345948" y="286036"/>
                      <a:pt x="325564" y="315944"/>
                      <a:pt x="294894" y="337090"/>
                    </a:cubicBezTo>
                    <a:cubicBezTo>
                      <a:pt x="265652" y="357473"/>
                      <a:pt x="230220" y="369094"/>
                      <a:pt x="185928" y="369094"/>
                    </a:cubicBezTo>
                    <a:cubicBezTo>
                      <a:pt x="70866" y="369094"/>
                      <a:pt x="0" y="289465"/>
                      <a:pt x="0" y="183928"/>
                    </a:cubicBezTo>
                    <a:close/>
                    <a:moveTo>
                      <a:pt x="247269" y="147066"/>
                    </a:moveTo>
                    <a:cubicBezTo>
                      <a:pt x="243174" y="105537"/>
                      <a:pt x="217265" y="78962"/>
                      <a:pt x="181261" y="78962"/>
                    </a:cubicBezTo>
                    <a:cubicBezTo>
                      <a:pt x="139065" y="78962"/>
                      <a:pt x="117253" y="105537"/>
                      <a:pt x="109728" y="147066"/>
                    </a:cubicBezTo>
                    <a:lnTo>
                      <a:pt x="247269" y="147066"/>
                    </a:lnTo>
                    <a:close/>
                  </a:path>
                </a:pathLst>
              </a:custGeom>
              <a:solidFill>
                <a:srgbClr val="000000"/>
              </a:solidFill>
              <a:ln w="9525" cap="flat">
                <a:noFill/>
                <a:prstDash val="solid"/>
                <a:miter/>
              </a:ln>
            </p:spPr>
            <p:txBody>
              <a:bodyPr rtlCol="0" anchor="ctr"/>
              <a:lstStyle/>
              <a:p>
                <a:endParaRPr lang="en-AU"/>
              </a:p>
            </p:txBody>
          </p:sp>
          <p:sp>
            <p:nvSpPr>
              <p:cNvPr id="62" name="Freeform: Shape 61">
                <a:extLst>
                  <a:ext uri="{FF2B5EF4-FFF2-40B4-BE49-F238E27FC236}">
                    <a16:creationId xmlns:a16="http://schemas.microsoft.com/office/drawing/2014/main" id="{031ED760-619F-EF37-8EC4-8E7BAC98E83D}"/>
                  </a:ext>
                </a:extLst>
              </p:cNvPr>
              <p:cNvSpPr/>
              <p:nvPr/>
            </p:nvSpPr>
            <p:spPr>
              <a:xfrm>
                <a:off x="20949980" y="2695788"/>
                <a:ext cx="112394" cy="486822"/>
              </a:xfrm>
              <a:custGeom>
                <a:avLst/>
                <a:gdLst>
                  <a:gd name="connsiteX0" fmla="*/ 0 w 112394"/>
                  <a:gd name="connsiteY0" fmla="*/ 0 h 486822"/>
                  <a:gd name="connsiteX1" fmla="*/ 112395 w 112394"/>
                  <a:gd name="connsiteY1" fmla="*/ 0 h 486822"/>
                  <a:gd name="connsiteX2" fmla="*/ 112395 w 112394"/>
                  <a:gd name="connsiteY2" fmla="*/ 486823 h 486822"/>
                  <a:gd name="connsiteX3" fmla="*/ 0 w 112394"/>
                  <a:gd name="connsiteY3" fmla="*/ 486823 h 486822"/>
                  <a:gd name="connsiteX4" fmla="*/ 0 w 112394"/>
                  <a:gd name="connsiteY4" fmla="*/ 0 h 486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4" h="486822">
                    <a:moveTo>
                      <a:pt x="0" y="0"/>
                    </a:moveTo>
                    <a:lnTo>
                      <a:pt x="112395" y="0"/>
                    </a:lnTo>
                    <a:lnTo>
                      <a:pt x="112395" y="486823"/>
                    </a:lnTo>
                    <a:lnTo>
                      <a:pt x="0" y="486823"/>
                    </a:lnTo>
                    <a:lnTo>
                      <a:pt x="0" y="0"/>
                    </a:lnTo>
                    <a:close/>
                  </a:path>
                </a:pathLst>
              </a:custGeom>
              <a:solidFill>
                <a:srgbClr val="000000"/>
              </a:solidFill>
              <a:ln w="9525" cap="flat">
                <a:noFill/>
                <a:prstDash val="solid"/>
                <a:miter/>
              </a:ln>
            </p:spPr>
            <p:txBody>
              <a:bodyPr rtlCol="0" anchor="ctr"/>
              <a:lstStyle/>
              <a:p>
                <a:endParaRPr lang="en-AU"/>
              </a:p>
            </p:txBody>
          </p:sp>
          <p:sp>
            <p:nvSpPr>
              <p:cNvPr id="63" name="Freeform: Shape 62">
                <a:extLst>
                  <a:ext uri="{FF2B5EF4-FFF2-40B4-BE49-F238E27FC236}">
                    <a16:creationId xmlns:a16="http://schemas.microsoft.com/office/drawing/2014/main" id="{A59AD3C2-5578-DBC6-6A7A-1A2213DBBD6C}"/>
                  </a:ext>
                </a:extLst>
              </p:cNvPr>
              <p:cNvSpPr/>
              <p:nvPr/>
            </p:nvSpPr>
            <p:spPr>
              <a:xfrm>
                <a:off x="21109333" y="2695788"/>
                <a:ext cx="110965" cy="486822"/>
              </a:xfrm>
              <a:custGeom>
                <a:avLst/>
                <a:gdLst>
                  <a:gd name="connsiteX0" fmla="*/ 0 w 110965"/>
                  <a:gd name="connsiteY0" fmla="*/ 0 h 486822"/>
                  <a:gd name="connsiteX1" fmla="*/ 110966 w 110965"/>
                  <a:gd name="connsiteY1" fmla="*/ 0 h 486822"/>
                  <a:gd name="connsiteX2" fmla="*/ 110966 w 110965"/>
                  <a:gd name="connsiteY2" fmla="*/ 89916 h 486822"/>
                  <a:gd name="connsiteX3" fmla="*/ 0 w 110965"/>
                  <a:gd name="connsiteY3" fmla="*/ 89916 h 486822"/>
                  <a:gd name="connsiteX4" fmla="*/ 0 w 110965"/>
                  <a:gd name="connsiteY4" fmla="*/ 0 h 486822"/>
                  <a:gd name="connsiteX5" fmla="*/ 0 w 110965"/>
                  <a:gd name="connsiteY5" fmla="*/ 138208 h 486822"/>
                  <a:gd name="connsiteX6" fmla="*/ 110966 w 110965"/>
                  <a:gd name="connsiteY6" fmla="*/ 138208 h 486822"/>
                  <a:gd name="connsiteX7" fmla="*/ 110966 w 110965"/>
                  <a:gd name="connsiteY7" fmla="*/ 486823 h 486822"/>
                  <a:gd name="connsiteX8" fmla="*/ 0 w 110965"/>
                  <a:gd name="connsiteY8" fmla="*/ 486823 h 486822"/>
                  <a:gd name="connsiteX9" fmla="*/ 0 w 110965"/>
                  <a:gd name="connsiteY9" fmla="*/ 138208 h 4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65" h="486822">
                    <a:moveTo>
                      <a:pt x="0" y="0"/>
                    </a:moveTo>
                    <a:lnTo>
                      <a:pt x="110966" y="0"/>
                    </a:lnTo>
                    <a:lnTo>
                      <a:pt x="110966" y="89916"/>
                    </a:lnTo>
                    <a:lnTo>
                      <a:pt x="0" y="89916"/>
                    </a:lnTo>
                    <a:lnTo>
                      <a:pt x="0" y="0"/>
                    </a:lnTo>
                    <a:close/>
                    <a:moveTo>
                      <a:pt x="0" y="138208"/>
                    </a:moveTo>
                    <a:lnTo>
                      <a:pt x="110966" y="138208"/>
                    </a:lnTo>
                    <a:lnTo>
                      <a:pt x="110966" y="486823"/>
                    </a:lnTo>
                    <a:lnTo>
                      <a:pt x="0" y="486823"/>
                    </a:lnTo>
                    <a:lnTo>
                      <a:pt x="0" y="138208"/>
                    </a:lnTo>
                    <a:close/>
                  </a:path>
                </a:pathLst>
              </a:custGeom>
              <a:solidFill>
                <a:srgbClr val="000000"/>
              </a:solidFill>
              <a:ln w="9525" cap="flat">
                <a:noFill/>
                <a:prstDash val="solid"/>
                <a:miter/>
              </a:ln>
            </p:spPr>
            <p:txBody>
              <a:bodyPr rtlCol="0" anchor="ctr"/>
              <a:lstStyle/>
              <a:p>
                <a:endParaRPr lang="en-AU"/>
              </a:p>
            </p:txBody>
          </p:sp>
          <p:sp>
            <p:nvSpPr>
              <p:cNvPr id="64" name="Freeform: Shape 63">
                <a:extLst>
                  <a:ext uri="{FF2B5EF4-FFF2-40B4-BE49-F238E27FC236}">
                    <a16:creationId xmlns:a16="http://schemas.microsoft.com/office/drawing/2014/main" id="{04852CB0-39F1-84BD-DC13-E315AE3A57AE}"/>
                  </a:ext>
                </a:extLst>
              </p:cNvPr>
              <p:cNvSpPr/>
              <p:nvPr/>
            </p:nvSpPr>
            <p:spPr>
              <a:xfrm>
                <a:off x="21234586" y="2833995"/>
                <a:ext cx="360807" cy="348614"/>
              </a:xfrm>
              <a:custGeom>
                <a:avLst/>
                <a:gdLst>
                  <a:gd name="connsiteX0" fmla="*/ 0 w 360807"/>
                  <a:gd name="connsiteY0" fmla="*/ 0 h 348614"/>
                  <a:gd name="connsiteX1" fmla="*/ 114395 w 360807"/>
                  <a:gd name="connsiteY1" fmla="*/ 0 h 348614"/>
                  <a:gd name="connsiteX2" fmla="*/ 162020 w 360807"/>
                  <a:gd name="connsiteY2" fmla="*/ 157258 h 348614"/>
                  <a:gd name="connsiteX3" fmla="*/ 181070 w 360807"/>
                  <a:gd name="connsiteY3" fmla="*/ 227362 h 348614"/>
                  <a:gd name="connsiteX4" fmla="*/ 182404 w 360807"/>
                  <a:gd name="connsiteY4" fmla="*/ 227362 h 348614"/>
                  <a:gd name="connsiteX5" fmla="*/ 201454 w 360807"/>
                  <a:gd name="connsiteY5" fmla="*/ 157258 h 348614"/>
                  <a:gd name="connsiteX6" fmla="*/ 249841 w 360807"/>
                  <a:gd name="connsiteY6" fmla="*/ 0 h 348614"/>
                  <a:gd name="connsiteX7" fmla="*/ 360807 w 360807"/>
                  <a:gd name="connsiteY7" fmla="*/ 0 h 348614"/>
                  <a:gd name="connsiteX8" fmla="*/ 240316 w 360807"/>
                  <a:gd name="connsiteY8" fmla="*/ 348615 h 348614"/>
                  <a:gd name="connsiteX9" fmla="*/ 120491 w 360807"/>
                  <a:gd name="connsiteY9" fmla="*/ 348615 h 348614"/>
                  <a:gd name="connsiteX10" fmla="*/ 0 w 360807"/>
                  <a:gd name="connsiteY10" fmla="*/ 0 h 34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0807" h="348614">
                    <a:moveTo>
                      <a:pt x="0" y="0"/>
                    </a:moveTo>
                    <a:lnTo>
                      <a:pt x="114395" y="0"/>
                    </a:lnTo>
                    <a:lnTo>
                      <a:pt x="162020" y="157258"/>
                    </a:lnTo>
                    <a:cubicBezTo>
                      <a:pt x="172212" y="192024"/>
                      <a:pt x="181070" y="227362"/>
                      <a:pt x="181070" y="227362"/>
                    </a:cubicBezTo>
                    <a:lnTo>
                      <a:pt x="182404" y="227362"/>
                    </a:lnTo>
                    <a:cubicBezTo>
                      <a:pt x="182404" y="227362"/>
                      <a:pt x="191262" y="191929"/>
                      <a:pt x="201454" y="157258"/>
                    </a:cubicBezTo>
                    <a:lnTo>
                      <a:pt x="249841" y="0"/>
                    </a:lnTo>
                    <a:lnTo>
                      <a:pt x="360807" y="0"/>
                    </a:lnTo>
                    <a:lnTo>
                      <a:pt x="240316" y="348615"/>
                    </a:lnTo>
                    <a:lnTo>
                      <a:pt x="120491" y="348615"/>
                    </a:lnTo>
                    <a:lnTo>
                      <a:pt x="0" y="0"/>
                    </a:lnTo>
                    <a:close/>
                  </a:path>
                </a:pathLst>
              </a:custGeom>
              <a:solidFill>
                <a:srgbClr val="000000"/>
              </a:solidFill>
              <a:ln w="9525" cap="flat">
                <a:noFill/>
                <a:prstDash val="solid"/>
                <a:miter/>
              </a:ln>
            </p:spPr>
            <p:txBody>
              <a:bodyPr rtlCol="0" anchor="ctr"/>
              <a:lstStyle/>
              <a:p>
                <a:endParaRPr lang="en-AU"/>
              </a:p>
            </p:txBody>
          </p:sp>
          <p:sp>
            <p:nvSpPr>
              <p:cNvPr id="65" name="Freeform: Shape 64">
                <a:extLst>
                  <a:ext uri="{FF2B5EF4-FFF2-40B4-BE49-F238E27FC236}">
                    <a16:creationId xmlns:a16="http://schemas.microsoft.com/office/drawing/2014/main" id="{9F3C3D4F-727F-34F7-97C5-E74D20CB7F0E}"/>
                  </a:ext>
                </a:extLst>
              </p:cNvPr>
              <p:cNvSpPr/>
              <p:nvPr/>
            </p:nvSpPr>
            <p:spPr>
              <a:xfrm>
                <a:off x="21579773" y="2823804"/>
                <a:ext cx="359589" cy="369093"/>
              </a:xfrm>
              <a:custGeom>
                <a:avLst/>
                <a:gdLst>
                  <a:gd name="connsiteX0" fmla="*/ 95 w 359589"/>
                  <a:gd name="connsiteY0" fmla="*/ 183832 h 369093"/>
                  <a:gd name="connsiteX1" fmla="*/ 179165 w 359589"/>
                  <a:gd name="connsiteY1" fmla="*/ 0 h 369093"/>
                  <a:gd name="connsiteX2" fmla="*/ 298323 w 359589"/>
                  <a:gd name="connsiteY2" fmla="*/ 43625 h 369093"/>
                  <a:gd name="connsiteX3" fmla="*/ 359569 w 359589"/>
                  <a:gd name="connsiteY3" fmla="*/ 213170 h 369093"/>
                  <a:gd name="connsiteX4" fmla="*/ 108966 w 359589"/>
                  <a:gd name="connsiteY4" fmla="*/ 213170 h 369093"/>
                  <a:gd name="connsiteX5" fmla="*/ 187261 w 359589"/>
                  <a:gd name="connsiteY5" fmla="*/ 289465 h 369093"/>
                  <a:gd name="connsiteX6" fmla="*/ 245173 w 359589"/>
                  <a:gd name="connsiteY6" fmla="*/ 254698 h 369093"/>
                  <a:gd name="connsiteX7" fmla="*/ 353473 w 359589"/>
                  <a:gd name="connsiteY7" fmla="*/ 254698 h 369093"/>
                  <a:gd name="connsiteX8" fmla="*/ 294894 w 359589"/>
                  <a:gd name="connsiteY8" fmla="*/ 337090 h 369093"/>
                  <a:gd name="connsiteX9" fmla="*/ 185928 w 359589"/>
                  <a:gd name="connsiteY9" fmla="*/ 369094 h 369093"/>
                  <a:gd name="connsiteX10" fmla="*/ 0 w 359589"/>
                  <a:gd name="connsiteY10" fmla="*/ 183928 h 369093"/>
                  <a:gd name="connsiteX11" fmla="*/ 247269 w 359589"/>
                  <a:gd name="connsiteY11" fmla="*/ 147066 h 369093"/>
                  <a:gd name="connsiteX12" fmla="*/ 181260 w 359589"/>
                  <a:gd name="connsiteY12" fmla="*/ 78962 h 369093"/>
                  <a:gd name="connsiteX13" fmla="*/ 109728 w 359589"/>
                  <a:gd name="connsiteY13" fmla="*/ 147066 h 369093"/>
                  <a:gd name="connsiteX14" fmla="*/ 247269 w 359589"/>
                  <a:gd name="connsiteY14" fmla="*/ 147066 h 3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9589" h="369093">
                    <a:moveTo>
                      <a:pt x="95" y="183832"/>
                    </a:moveTo>
                    <a:cubicBezTo>
                      <a:pt x="95" y="79629"/>
                      <a:pt x="72961" y="0"/>
                      <a:pt x="179165" y="0"/>
                    </a:cubicBezTo>
                    <a:cubicBezTo>
                      <a:pt x="228885" y="0"/>
                      <a:pt x="268319" y="16383"/>
                      <a:pt x="298323" y="43625"/>
                    </a:cubicBezTo>
                    <a:cubicBezTo>
                      <a:pt x="339852" y="81725"/>
                      <a:pt x="360330" y="142399"/>
                      <a:pt x="359569" y="213170"/>
                    </a:cubicBezTo>
                    <a:lnTo>
                      <a:pt x="108966" y="213170"/>
                    </a:lnTo>
                    <a:cubicBezTo>
                      <a:pt x="115728" y="260128"/>
                      <a:pt x="141637" y="289465"/>
                      <a:pt x="187261" y="289465"/>
                    </a:cubicBezTo>
                    <a:cubicBezTo>
                      <a:pt x="216503" y="289465"/>
                      <a:pt x="235648" y="276511"/>
                      <a:pt x="245173" y="254698"/>
                    </a:cubicBezTo>
                    <a:lnTo>
                      <a:pt x="353473" y="254698"/>
                    </a:lnTo>
                    <a:cubicBezTo>
                      <a:pt x="345948" y="286036"/>
                      <a:pt x="325564" y="315944"/>
                      <a:pt x="294894" y="337090"/>
                    </a:cubicBezTo>
                    <a:cubicBezTo>
                      <a:pt x="265652" y="357473"/>
                      <a:pt x="230219" y="369094"/>
                      <a:pt x="185928" y="369094"/>
                    </a:cubicBezTo>
                    <a:cubicBezTo>
                      <a:pt x="70866" y="369094"/>
                      <a:pt x="0" y="289465"/>
                      <a:pt x="0" y="183928"/>
                    </a:cubicBezTo>
                    <a:close/>
                    <a:moveTo>
                      <a:pt x="247269" y="147066"/>
                    </a:moveTo>
                    <a:cubicBezTo>
                      <a:pt x="243173" y="105537"/>
                      <a:pt x="217265" y="78962"/>
                      <a:pt x="181260" y="78962"/>
                    </a:cubicBezTo>
                    <a:cubicBezTo>
                      <a:pt x="139065" y="78962"/>
                      <a:pt x="117253" y="105537"/>
                      <a:pt x="109728" y="147066"/>
                    </a:cubicBezTo>
                    <a:lnTo>
                      <a:pt x="247269" y="147066"/>
                    </a:lnTo>
                    <a:close/>
                  </a:path>
                </a:pathLst>
              </a:custGeom>
              <a:solidFill>
                <a:srgbClr val="000000"/>
              </a:solidFill>
              <a:ln w="9525" cap="flat">
                <a:noFill/>
                <a:prstDash val="solid"/>
                <a:miter/>
              </a:ln>
            </p:spPr>
            <p:txBody>
              <a:bodyPr rtlCol="0" anchor="ctr"/>
              <a:lstStyle/>
              <a:p>
                <a:endParaRPr lang="en-AU"/>
              </a:p>
            </p:txBody>
          </p:sp>
          <p:sp>
            <p:nvSpPr>
              <p:cNvPr id="66" name="Freeform: Shape 65">
                <a:extLst>
                  <a:ext uri="{FF2B5EF4-FFF2-40B4-BE49-F238E27FC236}">
                    <a16:creationId xmlns:a16="http://schemas.microsoft.com/office/drawing/2014/main" id="{A4059B0A-E9C9-50E7-42A2-3EFA4692A219}"/>
                  </a:ext>
                </a:extLst>
              </p:cNvPr>
              <p:cNvSpPr/>
              <p:nvPr/>
            </p:nvSpPr>
            <p:spPr>
              <a:xfrm>
                <a:off x="21969345" y="2828566"/>
                <a:ext cx="225361" cy="354139"/>
              </a:xfrm>
              <a:custGeom>
                <a:avLst/>
                <a:gdLst>
                  <a:gd name="connsiteX0" fmla="*/ 0 w 225361"/>
                  <a:gd name="connsiteY0" fmla="*/ 5429 h 354139"/>
                  <a:gd name="connsiteX1" fmla="*/ 106204 w 225361"/>
                  <a:gd name="connsiteY1" fmla="*/ 5429 h 354139"/>
                  <a:gd name="connsiteX2" fmla="*/ 106204 w 225361"/>
                  <a:gd name="connsiteY2" fmla="*/ 59912 h 354139"/>
                  <a:gd name="connsiteX3" fmla="*/ 108204 w 225361"/>
                  <a:gd name="connsiteY3" fmla="*/ 59912 h 354139"/>
                  <a:gd name="connsiteX4" fmla="*/ 203549 w 225361"/>
                  <a:gd name="connsiteY4" fmla="*/ 0 h 354139"/>
                  <a:gd name="connsiteX5" fmla="*/ 225362 w 225361"/>
                  <a:gd name="connsiteY5" fmla="*/ 2762 h 354139"/>
                  <a:gd name="connsiteX6" fmla="*/ 225362 w 225361"/>
                  <a:gd name="connsiteY6" fmla="*/ 98107 h 354139"/>
                  <a:gd name="connsiteX7" fmla="*/ 222599 w 225361"/>
                  <a:gd name="connsiteY7" fmla="*/ 98107 h 354139"/>
                  <a:gd name="connsiteX8" fmla="*/ 110966 w 225361"/>
                  <a:gd name="connsiteY8" fmla="*/ 197548 h 354139"/>
                  <a:gd name="connsiteX9" fmla="*/ 110966 w 225361"/>
                  <a:gd name="connsiteY9" fmla="*/ 354139 h 354139"/>
                  <a:gd name="connsiteX10" fmla="*/ 0 w 225361"/>
                  <a:gd name="connsiteY10" fmla="*/ 354139 h 354139"/>
                  <a:gd name="connsiteX11" fmla="*/ 0 w 225361"/>
                  <a:gd name="connsiteY11" fmla="*/ 5525 h 35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361" h="354139">
                    <a:moveTo>
                      <a:pt x="0" y="5429"/>
                    </a:moveTo>
                    <a:lnTo>
                      <a:pt x="106204" y="5429"/>
                    </a:lnTo>
                    <a:lnTo>
                      <a:pt x="106204" y="59912"/>
                    </a:lnTo>
                    <a:lnTo>
                      <a:pt x="108204" y="59912"/>
                    </a:lnTo>
                    <a:cubicBezTo>
                      <a:pt x="132683" y="18383"/>
                      <a:pt x="161354" y="0"/>
                      <a:pt x="203549" y="0"/>
                    </a:cubicBezTo>
                    <a:cubicBezTo>
                      <a:pt x="213741" y="0"/>
                      <a:pt x="220599" y="667"/>
                      <a:pt x="225362" y="2762"/>
                    </a:cubicBezTo>
                    <a:lnTo>
                      <a:pt x="225362" y="98107"/>
                    </a:lnTo>
                    <a:lnTo>
                      <a:pt x="222599" y="98107"/>
                    </a:lnTo>
                    <a:cubicBezTo>
                      <a:pt x="154496" y="88582"/>
                      <a:pt x="110966" y="121920"/>
                      <a:pt x="110966" y="197548"/>
                    </a:cubicBezTo>
                    <a:lnTo>
                      <a:pt x="110966" y="354139"/>
                    </a:lnTo>
                    <a:lnTo>
                      <a:pt x="0" y="354139"/>
                    </a:lnTo>
                    <a:lnTo>
                      <a:pt x="0" y="5525"/>
                    </a:lnTo>
                    <a:close/>
                  </a:path>
                </a:pathLst>
              </a:custGeom>
              <a:solidFill>
                <a:srgbClr val="000000"/>
              </a:solidFill>
              <a:ln w="9525" cap="flat">
                <a:noFill/>
                <a:prstDash val="solid"/>
                <a:miter/>
              </a:ln>
            </p:spPr>
            <p:txBody>
              <a:bodyPr rtlCol="0" anchor="ctr"/>
              <a:lstStyle/>
              <a:p>
                <a:endParaRPr lang="en-AU"/>
              </a:p>
            </p:txBody>
          </p:sp>
          <p:sp>
            <p:nvSpPr>
              <p:cNvPr id="67" name="Freeform: Shape 66">
                <a:extLst>
                  <a:ext uri="{FF2B5EF4-FFF2-40B4-BE49-F238E27FC236}">
                    <a16:creationId xmlns:a16="http://schemas.microsoft.com/office/drawing/2014/main" id="{89A19E22-8B7F-C0B9-6CDF-468746907795}"/>
                  </a:ext>
                </a:extLst>
              </p:cNvPr>
              <p:cNvSpPr/>
              <p:nvPr/>
            </p:nvSpPr>
            <p:spPr>
              <a:xfrm>
                <a:off x="22168894" y="3068215"/>
                <a:ext cx="116395" cy="114395"/>
              </a:xfrm>
              <a:custGeom>
                <a:avLst/>
                <a:gdLst>
                  <a:gd name="connsiteX0" fmla="*/ 0 w 116395"/>
                  <a:gd name="connsiteY0" fmla="*/ 0 h 114395"/>
                  <a:gd name="connsiteX1" fmla="*/ 116396 w 116395"/>
                  <a:gd name="connsiteY1" fmla="*/ 0 h 114395"/>
                  <a:gd name="connsiteX2" fmla="*/ 116396 w 116395"/>
                  <a:gd name="connsiteY2" fmla="*/ 114395 h 114395"/>
                  <a:gd name="connsiteX3" fmla="*/ 0 w 116395"/>
                  <a:gd name="connsiteY3" fmla="*/ 114395 h 114395"/>
                  <a:gd name="connsiteX4" fmla="*/ 0 w 116395"/>
                  <a:gd name="connsiteY4" fmla="*/ 0 h 11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95" h="114395">
                    <a:moveTo>
                      <a:pt x="0" y="0"/>
                    </a:moveTo>
                    <a:lnTo>
                      <a:pt x="116396" y="0"/>
                    </a:lnTo>
                    <a:lnTo>
                      <a:pt x="116396" y="114395"/>
                    </a:lnTo>
                    <a:lnTo>
                      <a:pt x="0" y="114395"/>
                    </a:lnTo>
                    <a:lnTo>
                      <a:pt x="0" y="0"/>
                    </a:lnTo>
                    <a:close/>
                  </a:path>
                </a:pathLst>
              </a:custGeom>
              <a:solidFill>
                <a:srgbClr val="000000"/>
              </a:solidFill>
              <a:ln w="9525" cap="flat">
                <a:noFill/>
                <a:prstDash val="solid"/>
                <a:miter/>
              </a:ln>
            </p:spPr>
            <p:txBody>
              <a:bodyPr rtlCol="0" anchor="ctr"/>
              <a:lstStyle/>
              <a:p>
                <a:endParaRPr lang="en-AU"/>
              </a:p>
            </p:txBody>
          </p:sp>
        </p:grpSp>
        <p:sp>
          <p:nvSpPr>
            <p:cNvPr id="68" name="Freeform: Shape 67">
              <a:extLst>
                <a:ext uri="{FF2B5EF4-FFF2-40B4-BE49-F238E27FC236}">
                  <a16:creationId xmlns:a16="http://schemas.microsoft.com/office/drawing/2014/main" id="{05189FBD-5040-7178-68D1-CB0DCA43E6C3}"/>
                </a:ext>
              </a:extLst>
            </p:cNvPr>
            <p:cNvSpPr/>
            <p:nvPr/>
          </p:nvSpPr>
          <p:spPr>
            <a:xfrm>
              <a:off x="19704300" y="2824470"/>
              <a:ext cx="373380" cy="373379"/>
            </a:xfrm>
            <a:custGeom>
              <a:avLst/>
              <a:gdLst>
                <a:gd name="connsiteX0" fmla="*/ 373380 w 373380"/>
                <a:gd name="connsiteY0" fmla="*/ 186690 h 373379"/>
                <a:gd name="connsiteX1" fmla="*/ 186690 w 373380"/>
                <a:gd name="connsiteY1" fmla="*/ 373380 h 373379"/>
                <a:gd name="connsiteX2" fmla="*/ 0 w 373380"/>
                <a:gd name="connsiteY2" fmla="*/ 186690 h 373379"/>
                <a:gd name="connsiteX3" fmla="*/ 186690 w 373380"/>
                <a:gd name="connsiteY3" fmla="*/ 0 h 373379"/>
                <a:gd name="connsiteX4" fmla="*/ 373380 w 373380"/>
                <a:gd name="connsiteY4" fmla="*/ 186690 h 373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80" h="373379">
                  <a:moveTo>
                    <a:pt x="373380" y="186690"/>
                  </a:moveTo>
                  <a:cubicBezTo>
                    <a:pt x="373380" y="289750"/>
                    <a:pt x="289846" y="373380"/>
                    <a:pt x="186690" y="373380"/>
                  </a:cubicBezTo>
                  <a:cubicBezTo>
                    <a:pt x="83534" y="373380"/>
                    <a:pt x="0" y="289846"/>
                    <a:pt x="0" y="186690"/>
                  </a:cubicBezTo>
                  <a:cubicBezTo>
                    <a:pt x="0" y="83534"/>
                    <a:pt x="83534" y="0"/>
                    <a:pt x="186690" y="0"/>
                  </a:cubicBezTo>
                  <a:cubicBezTo>
                    <a:pt x="289846" y="0"/>
                    <a:pt x="373380" y="83534"/>
                    <a:pt x="373380" y="186690"/>
                  </a:cubicBezTo>
                </a:path>
              </a:pathLst>
            </a:custGeom>
            <a:solidFill>
              <a:srgbClr val="000000"/>
            </a:solidFill>
            <a:ln w="9525" cap="flat">
              <a:noFill/>
              <a:prstDash val="solid"/>
              <a:miter/>
            </a:ln>
          </p:spPr>
          <p:txBody>
            <a:bodyPr rtlCol="0" anchor="ctr"/>
            <a:lstStyle/>
            <a:p>
              <a:endParaRPr lang="en-AU"/>
            </a:p>
          </p:txBody>
        </p:sp>
        <p:grpSp>
          <p:nvGrpSpPr>
            <p:cNvPr id="69" name="Graphic 48">
              <a:extLst>
                <a:ext uri="{FF2B5EF4-FFF2-40B4-BE49-F238E27FC236}">
                  <a16:creationId xmlns:a16="http://schemas.microsoft.com/office/drawing/2014/main" id="{1EEDCA1A-5E40-887C-8F37-870C6CBAD8E0}"/>
                </a:ext>
              </a:extLst>
            </p:cNvPr>
            <p:cNvGrpSpPr/>
            <p:nvPr/>
          </p:nvGrpSpPr>
          <p:grpSpPr>
            <a:xfrm>
              <a:off x="19760592" y="2963916"/>
              <a:ext cx="245650" cy="77057"/>
              <a:chOff x="19760592" y="2963916"/>
              <a:chExt cx="245650" cy="77057"/>
            </a:xfrm>
            <a:solidFill>
              <a:srgbClr val="FFFFFF"/>
            </a:solidFill>
          </p:grpSpPr>
          <p:sp>
            <p:nvSpPr>
              <p:cNvPr id="70" name="Freeform: Shape 69">
                <a:extLst>
                  <a:ext uri="{FF2B5EF4-FFF2-40B4-BE49-F238E27FC236}">
                    <a16:creationId xmlns:a16="http://schemas.microsoft.com/office/drawing/2014/main" id="{B7C2F300-6932-53C2-09BA-079B70E671BD}"/>
                  </a:ext>
                </a:extLst>
              </p:cNvPr>
              <p:cNvSpPr/>
              <p:nvPr/>
            </p:nvSpPr>
            <p:spPr>
              <a:xfrm>
                <a:off x="19760592" y="2983823"/>
                <a:ext cx="54292" cy="57150"/>
              </a:xfrm>
              <a:custGeom>
                <a:avLst/>
                <a:gdLst>
                  <a:gd name="connsiteX0" fmla="*/ 95 w 54292"/>
                  <a:gd name="connsiteY0" fmla="*/ 28575 h 57150"/>
                  <a:gd name="connsiteX1" fmla="*/ 28290 w 54292"/>
                  <a:gd name="connsiteY1" fmla="*/ 0 h 57150"/>
                  <a:gd name="connsiteX2" fmla="*/ 53912 w 54292"/>
                  <a:gd name="connsiteY2" fmla="*/ 20669 h 57150"/>
                  <a:gd name="connsiteX3" fmla="*/ 37338 w 54292"/>
                  <a:gd name="connsiteY3" fmla="*/ 20669 h 57150"/>
                  <a:gd name="connsiteX4" fmla="*/ 28480 w 54292"/>
                  <a:gd name="connsiteY4" fmla="*/ 12668 h 57150"/>
                  <a:gd name="connsiteX5" fmla="*/ 17431 w 54292"/>
                  <a:gd name="connsiteY5" fmla="*/ 28575 h 57150"/>
                  <a:gd name="connsiteX6" fmla="*/ 28480 w 54292"/>
                  <a:gd name="connsiteY6" fmla="*/ 44291 h 57150"/>
                  <a:gd name="connsiteX7" fmla="*/ 37815 w 54292"/>
                  <a:gd name="connsiteY7" fmla="*/ 35052 h 57150"/>
                  <a:gd name="connsiteX8" fmla="*/ 54293 w 54292"/>
                  <a:gd name="connsiteY8" fmla="*/ 35052 h 57150"/>
                  <a:gd name="connsiteX9" fmla="*/ 28670 w 54292"/>
                  <a:gd name="connsiteY9" fmla="*/ 57150 h 57150"/>
                  <a:gd name="connsiteX10" fmla="*/ 0 w 54292"/>
                  <a:gd name="connsiteY10"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292" h="57150">
                    <a:moveTo>
                      <a:pt x="95" y="28575"/>
                    </a:moveTo>
                    <a:cubicBezTo>
                      <a:pt x="95" y="12383"/>
                      <a:pt x="11240" y="0"/>
                      <a:pt x="28290" y="0"/>
                    </a:cubicBezTo>
                    <a:cubicBezTo>
                      <a:pt x="42958" y="0"/>
                      <a:pt x="52293" y="8572"/>
                      <a:pt x="53912" y="20669"/>
                    </a:cubicBezTo>
                    <a:lnTo>
                      <a:pt x="37338" y="20669"/>
                    </a:lnTo>
                    <a:cubicBezTo>
                      <a:pt x="36291" y="15812"/>
                      <a:pt x="33338" y="12668"/>
                      <a:pt x="28480" y="12668"/>
                    </a:cubicBezTo>
                    <a:cubicBezTo>
                      <a:pt x="21146" y="12668"/>
                      <a:pt x="17431" y="18764"/>
                      <a:pt x="17431" y="28575"/>
                    </a:cubicBezTo>
                    <a:cubicBezTo>
                      <a:pt x="17431" y="38386"/>
                      <a:pt x="21146" y="44291"/>
                      <a:pt x="28480" y="44291"/>
                    </a:cubicBezTo>
                    <a:cubicBezTo>
                      <a:pt x="33814" y="44291"/>
                      <a:pt x="37148" y="41148"/>
                      <a:pt x="37815" y="35052"/>
                    </a:cubicBezTo>
                    <a:lnTo>
                      <a:pt x="54293" y="35052"/>
                    </a:lnTo>
                    <a:cubicBezTo>
                      <a:pt x="53912" y="47530"/>
                      <a:pt x="44006" y="57150"/>
                      <a:pt x="28670" y="57150"/>
                    </a:cubicBezTo>
                    <a:cubicBezTo>
                      <a:pt x="11240" y="57150"/>
                      <a:pt x="0" y="44863"/>
                      <a:pt x="0" y="28575"/>
                    </a:cubicBezTo>
                    <a:close/>
                  </a:path>
                </a:pathLst>
              </a:custGeom>
              <a:solidFill>
                <a:srgbClr val="FFFFFF"/>
              </a:solidFill>
              <a:ln w="9525" cap="flat">
                <a:noFill/>
                <a:prstDash val="solid"/>
                <a:miter/>
              </a:ln>
            </p:spPr>
            <p:txBody>
              <a:bodyPr rtlCol="0" anchor="ctr"/>
              <a:lstStyle/>
              <a:p>
                <a:endParaRPr lang="en-AU"/>
              </a:p>
            </p:txBody>
          </p:sp>
          <p:sp>
            <p:nvSpPr>
              <p:cNvPr id="71" name="Freeform: Shape 70">
                <a:extLst>
                  <a:ext uri="{FF2B5EF4-FFF2-40B4-BE49-F238E27FC236}">
                    <a16:creationId xmlns:a16="http://schemas.microsoft.com/office/drawing/2014/main" id="{E01BD5D6-80C4-2B63-8C8A-C4BAB7F38D30}"/>
                  </a:ext>
                </a:extLst>
              </p:cNvPr>
              <p:cNvSpPr/>
              <p:nvPr/>
            </p:nvSpPr>
            <p:spPr>
              <a:xfrm>
                <a:off x="19816981" y="2963916"/>
                <a:ext cx="17430" cy="75342"/>
              </a:xfrm>
              <a:custGeom>
                <a:avLst/>
                <a:gdLst>
                  <a:gd name="connsiteX0" fmla="*/ 0 w 17430"/>
                  <a:gd name="connsiteY0" fmla="*/ 0 h 75342"/>
                  <a:gd name="connsiteX1" fmla="*/ 17430 w 17430"/>
                  <a:gd name="connsiteY1" fmla="*/ 0 h 75342"/>
                  <a:gd name="connsiteX2" fmla="*/ 17430 w 17430"/>
                  <a:gd name="connsiteY2" fmla="*/ 75343 h 75342"/>
                  <a:gd name="connsiteX3" fmla="*/ 0 w 17430"/>
                  <a:gd name="connsiteY3" fmla="*/ 75343 h 75342"/>
                  <a:gd name="connsiteX4" fmla="*/ 0 w 17430"/>
                  <a:gd name="connsiteY4" fmla="*/ 0 h 75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0" h="75342">
                    <a:moveTo>
                      <a:pt x="0" y="0"/>
                    </a:moveTo>
                    <a:lnTo>
                      <a:pt x="17430" y="0"/>
                    </a:lnTo>
                    <a:lnTo>
                      <a:pt x="17430" y="75343"/>
                    </a:lnTo>
                    <a:lnTo>
                      <a:pt x="0" y="75343"/>
                    </a:lnTo>
                    <a:lnTo>
                      <a:pt x="0" y="0"/>
                    </a:lnTo>
                    <a:close/>
                  </a:path>
                </a:pathLst>
              </a:custGeom>
              <a:solidFill>
                <a:srgbClr val="FFFFFF"/>
              </a:solidFill>
              <a:ln w="9525" cap="flat">
                <a:noFill/>
                <a:prstDash val="solid"/>
                <a:miter/>
              </a:ln>
            </p:spPr>
            <p:txBody>
              <a:bodyPr rtlCol="0" anchor="ctr"/>
              <a:lstStyle/>
              <a:p>
                <a:endParaRPr lang="en-AU"/>
              </a:p>
            </p:txBody>
          </p:sp>
          <p:sp>
            <p:nvSpPr>
              <p:cNvPr id="72" name="Freeform: Shape 71">
                <a:extLst>
                  <a:ext uri="{FF2B5EF4-FFF2-40B4-BE49-F238E27FC236}">
                    <a16:creationId xmlns:a16="http://schemas.microsoft.com/office/drawing/2014/main" id="{F1BC4F5A-95E3-A186-13DB-15BCF92424BD}"/>
                  </a:ext>
                </a:extLst>
              </p:cNvPr>
              <p:cNvSpPr/>
              <p:nvPr/>
            </p:nvSpPr>
            <p:spPr>
              <a:xfrm>
                <a:off x="19836507" y="2983823"/>
                <a:ext cx="57626" cy="57150"/>
              </a:xfrm>
              <a:custGeom>
                <a:avLst/>
                <a:gdLst>
                  <a:gd name="connsiteX0" fmla="*/ 0 w 57626"/>
                  <a:gd name="connsiteY0" fmla="*/ 28575 h 57150"/>
                  <a:gd name="connsiteX1" fmla="*/ 28860 w 57626"/>
                  <a:gd name="connsiteY1" fmla="*/ 0 h 57150"/>
                  <a:gd name="connsiteX2" fmla="*/ 57626 w 57626"/>
                  <a:gd name="connsiteY2" fmla="*/ 28575 h 57150"/>
                  <a:gd name="connsiteX3" fmla="*/ 28860 w 57626"/>
                  <a:gd name="connsiteY3" fmla="*/ 57150 h 57150"/>
                  <a:gd name="connsiteX4" fmla="*/ 0 w 57626"/>
                  <a:gd name="connsiteY4" fmla="*/ 28575 h 57150"/>
                  <a:gd name="connsiteX5" fmla="*/ 40291 w 57626"/>
                  <a:gd name="connsiteY5" fmla="*/ 28575 h 57150"/>
                  <a:gd name="connsiteX6" fmla="*/ 28766 w 57626"/>
                  <a:gd name="connsiteY6" fmla="*/ 12097 h 57150"/>
                  <a:gd name="connsiteX7" fmla="*/ 17336 w 57626"/>
                  <a:gd name="connsiteY7" fmla="*/ 28575 h 57150"/>
                  <a:gd name="connsiteX8" fmla="*/ 28766 w 57626"/>
                  <a:gd name="connsiteY8" fmla="*/ 44863 h 57150"/>
                  <a:gd name="connsiteX9" fmla="*/ 40291 w 57626"/>
                  <a:gd name="connsiteY9"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626" h="57150">
                    <a:moveTo>
                      <a:pt x="0" y="28575"/>
                    </a:moveTo>
                    <a:cubicBezTo>
                      <a:pt x="0" y="12383"/>
                      <a:pt x="11620" y="0"/>
                      <a:pt x="28860" y="0"/>
                    </a:cubicBezTo>
                    <a:cubicBezTo>
                      <a:pt x="46101" y="0"/>
                      <a:pt x="57626" y="12287"/>
                      <a:pt x="57626" y="28575"/>
                    </a:cubicBezTo>
                    <a:cubicBezTo>
                      <a:pt x="57626" y="44863"/>
                      <a:pt x="46196" y="57150"/>
                      <a:pt x="28860" y="57150"/>
                    </a:cubicBezTo>
                    <a:cubicBezTo>
                      <a:pt x="11525" y="57150"/>
                      <a:pt x="0" y="44863"/>
                      <a:pt x="0" y="28575"/>
                    </a:cubicBezTo>
                    <a:close/>
                    <a:moveTo>
                      <a:pt x="40291" y="28575"/>
                    </a:moveTo>
                    <a:cubicBezTo>
                      <a:pt x="40291" y="18764"/>
                      <a:pt x="36290" y="12097"/>
                      <a:pt x="28766" y="12097"/>
                    </a:cubicBezTo>
                    <a:cubicBezTo>
                      <a:pt x="21241" y="12097"/>
                      <a:pt x="17336" y="18764"/>
                      <a:pt x="17336" y="28575"/>
                    </a:cubicBezTo>
                    <a:cubicBezTo>
                      <a:pt x="17336" y="38386"/>
                      <a:pt x="21241" y="44863"/>
                      <a:pt x="28766" y="44863"/>
                    </a:cubicBezTo>
                    <a:cubicBezTo>
                      <a:pt x="36290" y="44863"/>
                      <a:pt x="40291" y="38291"/>
                      <a:pt x="40291" y="28575"/>
                    </a:cubicBezTo>
                    <a:close/>
                  </a:path>
                </a:pathLst>
              </a:custGeom>
              <a:solidFill>
                <a:srgbClr val="FFFFFF"/>
              </a:solidFill>
              <a:ln w="9525" cap="flat">
                <a:noFill/>
                <a:prstDash val="solid"/>
                <a:miter/>
              </a:ln>
            </p:spPr>
            <p:txBody>
              <a:bodyPr rtlCol="0" anchor="ctr"/>
              <a:lstStyle/>
              <a:p>
                <a:endParaRPr lang="en-AU"/>
              </a:p>
            </p:txBody>
          </p:sp>
          <p:sp>
            <p:nvSpPr>
              <p:cNvPr id="73" name="Freeform: Shape 72">
                <a:extLst>
                  <a:ext uri="{FF2B5EF4-FFF2-40B4-BE49-F238E27FC236}">
                    <a16:creationId xmlns:a16="http://schemas.microsoft.com/office/drawing/2014/main" id="{733E0241-2382-1DC4-4C00-66973A6C4E43}"/>
                  </a:ext>
                </a:extLst>
              </p:cNvPr>
              <p:cNvSpPr/>
              <p:nvPr/>
            </p:nvSpPr>
            <p:spPr>
              <a:xfrm>
                <a:off x="19895752" y="2985347"/>
                <a:ext cx="51816" cy="55435"/>
              </a:xfrm>
              <a:custGeom>
                <a:avLst/>
                <a:gdLst>
                  <a:gd name="connsiteX0" fmla="*/ 0 w 51816"/>
                  <a:gd name="connsiteY0" fmla="*/ 35433 h 55435"/>
                  <a:gd name="connsiteX1" fmla="*/ 0 w 51816"/>
                  <a:gd name="connsiteY1" fmla="*/ 0 h 55435"/>
                  <a:gd name="connsiteX2" fmla="*/ 17050 w 51816"/>
                  <a:gd name="connsiteY2" fmla="*/ 0 h 55435"/>
                  <a:gd name="connsiteX3" fmla="*/ 17050 w 51816"/>
                  <a:gd name="connsiteY3" fmla="*/ 31813 h 55435"/>
                  <a:gd name="connsiteX4" fmla="*/ 25146 w 51816"/>
                  <a:gd name="connsiteY4" fmla="*/ 40958 h 55435"/>
                  <a:gd name="connsiteX5" fmla="*/ 34671 w 51816"/>
                  <a:gd name="connsiteY5" fmla="*/ 30099 h 55435"/>
                  <a:gd name="connsiteX6" fmla="*/ 34671 w 51816"/>
                  <a:gd name="connsiteY6" fmla="*/ 0 h 55435"/>
                  <a:gd name="connsiteX7" fmla="*/ 51816 w 51816"/>
                  <a:gd name="connsiteY7" fmla="*/ 0 h 55435"/>
                  <a:gd name="connsiteX8" fmla="*/ 51816 w 51816"/>
                  <a:gd name="connsiteY8" fmla="*/ 53912 h 55435"/>
                  <a:gd name="connsiteX9" fmla="*/ 35338 w 51816"/>
                  <a:gd name="connsiteY9" fmla="*/ 53912 h 55435"/>
                  <a:gd name="connsiteX10" fmla="*/ 35338 w 51816"/>
                  <a:gd name="connsiteY10" fmla="*/ 47244 h 55435"/>
                  <a:gd name="connsiteX11" fmla="*/ 35053 w 51816"/>
                  <a:gd name="connsiteY11" fmla="*/ 47244 h 55435"/>
                  <a:gd name="connsiteX12" fmla="*/ 18955 w 51816"/>
                  <a:gd name="connsiteY12" fmla="*/ 55436 h 55435"/>
                  <a:gd name="connsiteX13" fmla="*/ 0 w 51816"/>
                  <a:gd name="connsiteY13" fmla="*/ 35338 h 5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16" h="55435">
                    <a:moveTo>
                      <a:pt x="0" y="35433"/>
                    </a:moveTo>
                    <a:lnTo>
                      <a:pt x="0" y="0"/>
                    </a:lnTo>
                    <a:lnTo>
                      <a:pt x="17050" y="0"/>
                    </a:lnTo>
                    <a:lnTo>
                      <a:pt x="17050" y="31813"/>
                    </a:lnTo>
                    <a:cubicBezTo>
                      <a:pt x="17050" y="37719"/>
                      <a:pt x="19717" y="40958"/>
                      <a:pt x="25146" y="40958"/>
                    </a:cubicBezTo>
                    <a:cubicBezTo>
                      <a:pt x="31052" y="40958"/>
                      <a:pt x="34671" y="36576"/>
                      <a:pt x="34671" y="30099"/>
                    </a:cubicBezTo>
                    <a:lnTo>
                      <a:pt x="34671" y="0"/>
                    </a:lnTo>
                    <a:lnTo>
                      <a:pt x="51816" y="0"/>
                    </a:lnTo>
                    <a:lnTo>
                      <a:pt x="51816" y="53912"/>
                    </a:lnTo>
                    <a:lnTo>
                      <a:pt x="35338" y="53912"/>
                    </a:lnTo>
                    <a:lnTo>
                      <a:pt x="35338" y="47244"/>
                    </a:lnTo>
                    <a:lnTo>
                      <a:pt x="35053" y="47244"/>
                    </a:lnTo>
                    <a:cubicBezTo>
                      <a:pt x="31147" y="52483"/>
                      <a:pt x="26384" y="55436"/>
                      <a:pt x="18955" y="55436"/>
                    </a:cubicBezTo>
                    <a:cubicBezTo>
                      <a:pt x="6478" y="55436"/>
                      <a:pt x="0" y="47339"/>
                      <a:pt x="0" y="35338"/>
                    </a:cubicBezTo>
                    <a:close/>
                  </a:path>
                </a:pathLst>
              </a:custGeom>
              <a:solidFill>
                <a:srgbClr val="FFFFFF"/>
              </a:solidFill>
              <a:ln w="9525" cap="flat">
                <a:noFill/>
                <a:prstDash val="solid"/>
                <a:miter/>
              </a:ln>
            </p:spPr>
            <p:txBody>
              <a:bodyPr rtlCol="0" anchor="ctr"/>
              <a:lstStyle/>
              <a:p>
                <a:endParaRPr lang="en-AU"/>
              </a:p>
            </p:txBody>
          </p:sp>
          <p:sp>
            <p:nvSpPr>
              <p:cNvPr id="74" name="Freeform: Shape 73">
                <a:extLst>
                  <a:ext uri="{FF2B5EF4-FFF2-40B4-BE49-F238E27FC236}">
                    <a16:creationId xmlns:a16="http://schemas.microsoft.com/office/drawing/2014/main" id="{6ACFB6BA-489A-E386-9678-EEB9191039B2}"/>
                  </a:ext>
                </a:extLst>
              </p:cNvPr>
              <p:cNvSpPr/>
              <p:nvPr/>
            </p:nvSpPr>
            <p:spPr>
              <a:xfrm>
                <a:off x="19950045" y="2963916"/>
                <a:ext cx="56197" cy="77057"/>
              </a:xfrm>
              <a:custGeom>
                <a:avLst/>
                <a:gdLst>
                  <a:gd name="connsiteX0" fmla="*/ 95 w 56197"/>
                  <a:gd name="connsiteY0" fmla="*/ 48387 h 77057"/>
                  <a:gd name="connsiteX1" fmla="*/ 23717 w 56197"/>
                  <a:gd name="connsiteY1" fmla="*/ 19812 h 77057"/>
                  <a:gd name="connsiteX2" fmla="*/ 38767 w 56197"/>
                  <a:gd name="connsiteY2" fmla="*/ 27527 h 77057"/>
                  <a:gd name="connsiteX3" fmla="*/ 39053 w 56197"/>
                  <a:gd name="connsiteY3" fmla="*/ 27527 h 77057"/>
                  <a:gd name="connsiteX4" fmla="*/ 39053 w 56197"/>
                  <a:gd name="connsiteY4" fmla="*/ 0 h 77057"/>
                  <a:gd name="connsiteX5" fmla="*/ 56198 w 56197"/>
                  <a:gd name="connsiteY5" fmla="*/ 0 h 77057"/>
                  <a:gd name="connsiteX6" fmla="*/ 56198 w 56197"/>
                  <a:gd name="connsiteY6" fmla="*/ 75343 h 77057"/>
                  <a:gd name="connsiteX7" fmla="*/ 39720 w 56197"/>
                  <a:gd name="connsiteY7" fmla="*/ 75343 h 77057"/>
                  <a:gd name="connsiteX8" fmla="*/ 39720 w 56197"/>
                  <a:gd name="connsiteY8" fmla="*/ 68104 h 77057"/>
                  <a:gd name="connsiteX9" fmla="*/ 39529 w 56197"/>
                  <a:gd name="connsiteY9" fmla="*/ 68104 h 77057"/>
                  <a:gd name="connsiteX10" fmla="*/ 23622 w 56197"/>
                  <a:gd name="connsiteY10" fmla="*/ 77057 h 77057"/>
                  <a:gd name="connsiteX11" fmla="*/ 0 w 56197"/>
                  <a:gd name="connsiteY11" fmla="*/ 48387 h 77057"/>
                  <a:gd name="connsiteX12" fmla="*/ 39529 w 56197"/>
                  <a:gd name="connsiteY12" fmla="*/ 48387 h 77057"/>
                  <a:gd name="connsiteX13" fmla="*/ 28385 w 56197"/>
                  <a:gd name="connsiteY13" fmla="*/ 32766 h 77057"/>
                  <a:gd name="connsiteX14" fmla="*/ 17526 w 56197"/>
                  <a:gd name="connsiteY14" fmla="*/ 48196 h 77057"/>
                  <a:gd name="connsiteX15" fmla="*/ 28194 w 56197"/>
                  <a:gd name="connsiteY15" fmla="*/ 63437 h 77057"/>
                  <a:gd name="connsiteX16" fmla="*/ 39529 w 56197"/>
                  <a:gd name="connsiteY16" fmla="*/ 48387 h 7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197" h="77057">
                    <a:moveTo>
                      <a:pt x="95" y="48387"/>
                    </a:moveTo>
                    <a:cubicBezTo>
                      <a:pt x="95" y="31528"/>
                      <a:pt x="9811" y="19812"/>
                      <a:pt x="23717" y="19812"/>
                    </a:cubicBezTo>
                    <a:cubicBezTo>
                      <a:pt x="31338" y="19812"/>
                      <a:pt x="35623" y="22955"/>
                      <a:pt x="38767" y="27527"/>
                    </a:cubicBezTo>
                    <a:lnTo>
                      <a:pt x="39053" y="27527"/>
                    </a:lnTo>
                    <a:lnTo>
                      <a:pt x="39053" y="0"/>
                    </a:lnTo>
                    <a:lnTo>
                      <a:pt x="56198" y="0"/>
                    </a:lnTo>
                    <a:lnTo>
                      <a:pt x="56198" y="75343"/>
                    </a:lnTo>
                    <a:lnTo>
                      <a:pt x="39720" y="75343"/>
                    </a:lnTo>
                    <a:lnTo>
                      <a:pt x="39720" y="68104"/>
                    </a:lnTo>
                    <a:lnTo>
                      <a:pt x="39529" y="68104"/>
                    </a:lnTo>
                    <a:cubicBezTo>
                      <a:pt x="36290" y="73723"/>
                      <a:pt x="30671" y="77057"/>
                      <a:pt x="23622" y="77057"/>
                    </a:cubicBezTo>
                    <a:cubicBezTo>
                      <a:pt x="9811" y="77057"/>
                      <a:pt x="0" y="66389"/>
                      <a:pt x="0" y="48387"/>
                    </a:cubicBezTo>
                    <a:close/>
                    <a:moveTo>
                      <a:pt x="39529" y="48387"/>
                    </a:moveTo>
                    <a:cubicBezTo>
                      <a:pt x="39529" y="39338"/>
                      <a:pt x="35814" y="32766"/>
                      <a:pt x="28385" y="32766"/>
                    </a:cubicBezTo>
                    <a:cubicBezTo>
                      <a:pt x="21527" y="32766"/>
                      <a:pt x="17526" y="39053"/>
                      <a:pt x="17526" y="48196"/>
                    </a:cubicBezTo>
                    <a:cubicBezTo>
                      <a:pt x="17526" y="57340"/>
                      <a:pt x="21527" y="63437"/>
                      <a:pt x="28194" y="63437"/>
                    </a:cubicBezTo>
                    <a:cubicBezTo>
                      <a:pt x="35338" y="63437"/>
                      <a:pt x="39529" y="57245"/>
                      <a:pt x="39529" y="48387"/>
                    </a:cubicBezTo>
                    <a:close/>
                  </a:path>
                </a:pathLst>
              </a:custGeom>
              <a:solidFill>
                <a:srgbClr val="FFFFFF"/>
              </a:solidFill>
              <a:ln w="9525" cap="flat">
                <a:noFill/>
                <a:prstDash val="solid"/>
                <a:miter/>
              </a:ln>
            </p:spPr>
            <p:txBody>
              <a:bodyPr rtlCol="0" anchor="ctr"/>
              <a:lstStyle/>
              <a:p>
                <a:endParaRPr lang="en-AU"/>
              </a:p>
            </p:txBody>
          </p:sp>
        </p:grpSp>
      </p:grpSp>
      <p:grpSp>
        <p:nvGrpSpPr>
          <p:cNvPr id="6" name="Group 5">
            <a:extLst>
              <a:ext uri="{FF2B5EF4-FFF2-40B4-BE49-F238E27FC236}">
                <a16:creationId xmlns:a16="http://schemas.microsoft.com/office/drawing/2014/main" id="{371A3063-2390-EF4E-B72C-681B68B11AAD}"/>
              </a:ext>
            </a:extLst>
          </p:cNvPr>
          <p:cNvGrpSpPr/>
          <p:nvPr userDrawn="1"/>
        </p:nvGrpSpPr>
        <p:grpSpPr>
          <a:xfrm>
            <a:off x="1261641" y="1646522"/>
            <a:ext cx="9544089" cy="3260157"/>
            <a:chOff x="19266531" y="2166674"/>
            <a:chExt cx="3018758" cy="1031175"/>
          </a:xfrm>
        </p:grpSpPr>
        <p:grpSp>
          <p:nvGrpSpPr>
            <p:cNvPr id="7" name="Graphic 48">
              <a:extLst>
                <a:ext uri="{FF2B5EF4-FFF2-40B4-BE49-F238E27FC236}">
                  <a16:creationId xmlns:a16="http://schemas.microsoft.com/office/drawing/2014/main" id="{78EB7DF9-4246-91AE-520D-AA96E9FD7795}"/>
                </a:ext>
              </a:extLst>
            </p:cNvPr>
            <p:cNvGrpSpPr/>
            <p:nvPr/>
          </p:nvGrpSpPr>
          <p:grpSpPr>
            <a:xfrm>
              <a:off x="19266531" y="2166674"/>
              <a:ext cx="1852898" cy="497776"/>
              <a:chOff x="19266531" y="2166674"/>
              <a:chExt cx="1852898" cy="497776"/>
            </a:xfrm>
            <a:solidFill>
              <a:srgbClr val="000000"/>
            </a:solidFill>
          </p:grpSpPr>
          <p:sp>
            <p:nvSpPr>
              <p:cNvPr id="25" name="Freeform: Shape 24">
                <a:extLst>
                  <a:ext uri="{FF2B5EF4-FFF2-40B4-BE49-F238E27FC236}">
                    <a16:creationId xmlns:a16="http://schemas.microsoft.com/office/drawing/2014/main" id="{54318E09-AA33-7189-1CD0-2BCE95EE090A}"/>
                  </a:ext>
                </a:extLst>
              </p:cNvPr>
              <p:cNvSpPr/>
              <p:nvPr/>
            </p:nvSpPr>
            <p:spPr>
              <a:xfrm>
                <a:off x="19266531" y="2166674"/>
                <a:ext cx="362807" cy="497776"/>
              </a:xfrm>
              <a:custGeom>
                <a:avLst/>
                <a:gdLst>
                  <a:gd name="connsiteX0" fmla="*/ 0 w 362807"/>
                  <a:gd name="connsiteY0" fmla="*/ 312515 h 497776"/>
                  <a:gd name="connsiteX1" fmla="*/ 152495 w 362807"/>
                  <a:gd name="connsiteY1" fmla="*/ 128016 h 497776"/>
                  <a:gd name="connsiteX2" fmla="*/ 249841 w 362807"/>
                  <a:gd name="connsiteY2" fmla="*/ 177737 h 497776"/>
                  <a:gd name="connsiteX3" fmla="*/ 251841 w 362807"/>
                  <a:gd name="connsiteY3" fmla="*/ 177737 h 497776"/>
                  <a:gd name="connsiteX4" fmla="*/ 251841 w 362807"/>
                  <a:gd name="connsiteY4" fmla="*/ 0 h 497776"/>
                  <a:gd name="connsiteX5" fmla="*/ 362808 w 362807"/>
                  <a:gd name="connsiteY5" fmla="*/ 0 h 497776"/>
                  <a:gd name="connsiteX6" fmla="*/ 362808 w 362807"/>
                  <a:gd name="connsiteY6" fmla="*/ 486823 h 497776"/>
                  <a:gd name="connsiteX7" fmla="*/ 256604 w 362807"/>
                  <a:gd name="connsiteY7" fmla="*/ 486823 h 497776"/>
                  <a:gd name="connsiteX8" fmla="*/ 256604 w 362807"/>
                  <a:gd name="connsiteY8" fmla="*/ 439865 h 497776"/>
                  <a:gd name="connsiteX9" fmla="*/ 255270 w 362807"/>
                  <a:gd name="connsiteY9" fmla="*/ 439865 h 497776"/>
                  <a:gd name="connsiteX10" fmla="*/ 152495 w 362807"/>
                  <a:gd name="connsiteY10" fmla="*/ 497776 h 497776"/>
                  <a:gd name="connsiteX11" fmla="*/ 0 w 362807"/>
                  <a:gd name="connsiteY11" fmla="*/ 312611 h 497776"/>
                  <a:gd name="connsiteX12" fmla="*/ 254699 w 362807"/>
                  <a:gd name="connsiteY12" fmla="*/ 312515 h 497776"/>
                  <a:gd name="connsiteX13" fmla="*/ 182499 w 362807"/>
                  <a:gd name="connsiteY13" fmla="*/ 211741 h 497776"/>
                  <a:gd name="connsiteX14" fmla="*/ 112395 w 362807"/>
                  <a:gd name="connsiteY14" fmla="*/ 311182 h 497776"/>
                  <a:gd name="connsiteX15" fmla="*/ 181166 w 362807"/>
                  <a:gd name="connsiteY15" fmla="*/ 409956 h 497776"/>
                  <a:gd name="connsiteX16" fmla="*/ 254699 w 362807"/>
                  <a:gd name="connsiteY16" fmla="*/ 312611 h 49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807" h="497776">
                    <a:moveTo>
                      <a:pt x="0" y="312515"/>
                    </a:moveTo>
                    <a:cubicBezTo>
                      <a:pt x="0" y="203549"/>
                      <a:pt x="62675" y="128016"/>
                      <a:pt x="152495" y="128016"/>
                    </a:cubicBezTo>
                    <a:cubicBezTo>
                      <a:pt x="201549" y="128016"/>
                      <a:pt x="229458" y="148400"/>
                      <a:pt x="249841" y="177737"/>
                    </a:cubicBezTo>
                    <a:lnTo>
                      <a:pt x="251841" y="177737"/>
                    </a:lnTo>
                    <a:lnTo>
                      <a:pt x="251841" y="0"/>
                    </a:lnTo>
                    <a:lnTo>
                      <a:pt x="362808" y="0"/>
                    </a:lnTo>
                    <a:lnTo>
                      <a:pt x="362808" y="486823"/>
                    </a:lnTo>
                    <a:lnTo>
                      <a:pt x="256604" y="486823"/>
                    </a:lnTo>
                    <a:lnTo>
                      <a:pt x="256604" y="439865"/>
                    </a:lnTo>
                    <a:lnTo>
                      <a:pt x="255270" y="439865"/>
                    </a:lnTo>
                    <a:cubicBezTo>
                      <a:pt x="234125" y="475964"/>
                      <a:pt x="198120" y="497776"/>
                      <a:pt x="152495" y="497776"/>
                    </a:cubicBezTo>
                    <a:cubicBezTo>
                      <a:pt x="63246" y="497776"/>
                      <a:pt x="0" y="429006"/>
                      <a:pt x="0" y="312611"/>
                    </a:cubicBezTo>
                    <a:close/>
                    <a:moveTo>
                      <a:pt x="254699" y="312515"/>
                    </a:moveTo>
                    <a:cubicBezTo>
                      <a:pt x="254699" y="253937"/>
                      <a:pt x="230886" y="211741"/>
                      <a:pt x="182499" y="211741"/>
                    </a:cubicBezTo>
                    <a:cubicBezTo>
                      <a:pt x="138208" y="211741"/>
                      <a:pt x="112395" y="252603"/>
                      <a:pt x="112395" y="311182"/>
                    </a:cubicBezTo>
                    <a:cubicBezTo>
                      <a:pt x="112395" y="369761"/>
                      <a:pt x="138303" y="409956"/>
                      <a:pt x="181166" y="409956"/>
                    </a:cubicBezTo>
                    <a:cubicBezTo>
                      <a:pt x="227457" y="409956"/>
                      <a:pt x="254699" y="369761"/>
                      <a:pt x="254699" y="312611"/>
                    </a:cubicBezTo>
                    <a:close/>
                  </a:path>
                </a:pathLst>
              </a:custGeom>
              <a:solidFill>
                <a:srgbClr val="000000"/>
              </a:solidFill>
              <a:ln w="9525"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8A33B7AA-931B-37F6-E3A9-40195297115E}"/>
                  </a:ext>
                </a:extLst>
              </p:cNvPr>
              <p:cNvSpPr/>
              <p:nvPr/>
            </p:nvSpPr>
            <p:spPr>
              <a:xfrm>
                <a:off x="19677249" y="2299452"/>
                <a:ext cx="225361" cy="354139"/>
              </a:xfrm>
              <a:custGeom>
                <a:avLst/>
                <a:gdLst>
                  <a:gd name="connsiteX0" fmla="*/ 0 w 225361"/>
                  <a:gd name="connsiteY0" fmla="*/ 5429 h 354139"/>
                  <a:gd name="connsiteX1" fmla="*/ 106204 w 225361"/>
                  <a:gd name="connsiteY1" fmla="*/ 5429 h 354139"/>
                  <a:gd name="connsiteX2" fmla="*/ 106204 w 225361"/>
                  <a:gd name="connsiteY2" fmla="*/ 59912 h 354139"/>
                  <a:gd name="connsiteX3" fmla="*/ 108204 w 225361"/>
                  <a:gd name="connsiteY3" fmla="*/ 59912 h 354139"/>
                  <a:gd name="connsiteX4" fmla="*/ 203550 w 225361"/>
                  <a:gd name="connsiteY4" fmla="*/ 0 h 354139"/>
                  <a:gd name="connsiteX5" fmla="*/ 225362 w 225361"/>
                  <a:gd name="connsiteY5" fmla="*/ 2762 h 354139"/>
                  <a:gd name="connsiteX6" fmla="*/ 225362 w 225361"/>
                  <a:gd name="connsiteY6" fmla="*/ 98108 h 354139"/>
                  <a:gd name="connsiteX7" fmla="*/ 222600 w 225361"/>
                  <a:gd name="connsiteY7" fmla="*/ 98108 h 354139"/>
                  <a:gd name="connsiteX8" fmla="*/ 110966 w 225361"/>
                  <a:gd name="connsiteY8" fmla="*/ 197549 h 354139"/>
                  <a:gd name="connsiteX9" fmla="*/ 110966 w 225361"/>
                  <a:gd name="connsiteY9" fmla="*/ 354139 h 354139"/>
                  <a:gd name="connsiteX10" fmla="*/ 0 w 225361"/>
                  <a:gd name="connsiteY10" fmla="*/ 354139 h 354139"/>
                  <a:gd name="connsiteX11" fmla="*/ 0 w 225361"/>
                  <a:gd name="connsiteY11" fmla="*/ 5525 h 35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361" h="354139">
                    <a:moveTo>
                      <a:pt x="0" y="5429"/>
                    </a:moveTo>
                    <a:lnTo>
                      <a:pt x="106204" y="5429"/>
                    </a:lnTo>
                    <a:lnTo>
                      <a:pt x="106204" y="59912"/>
                    </a:lnTo>
                    <a:lnTo>
                      <a:pt x="108204" y="59912"/>
                    </a:lnTo>
                    <a:cubicBezTo>
                      <a:pt x="132684" y="18383"/>
                      <a:pt x="161354" y="0"/>
                      <a:pt x="203550" y="0"/>
                    </a:cubicBezTo>
                    <a:cubicBezTo>
                      <a:pt x="213741" y="0"/>
                      <a:pt x="220599" y="667"/>
                      <a:pt x="225362" y="2762"/>
                    </a:cubicBezTo>
                    <a:lnTo>
                      <a:pt x="225362" y="98108"/>
                    </a:lnTo>
                    <a:lnTo>
                      <a:pt x="222600" y="98108"/>
                    </a:lnTo>
                    <a:cubicBezTo>
                      <a:pt x="154496" y="88583"/>
                      <a:pt x="110966" y="121920"/>
                      <a:pt x="110966" y="197549"/>
                    </a:cubicBezTo>
                    <a:lnTo>
                      <a:pt x="110966" y="354139"/>
                    </a:lnTo>
                    <a:lnTo>
                      <a:pt x="0" y="354139"/>
                    </a:lnTo>
                    <a:lnTo>
                      <a:pt x="0" y="5525"/>
                    </a:lnTo>
                    <a:close/>
                  </a:path>
                </a:pathLst>
              </a:custGeom>
              <a:solidFill>
                <a:srgbClr val="000000"/>
              </a:solid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8623AA1D-F0B0-B1D7-02CB-0AA22354566A}"/>
                  </a:ext>
                </a:extLst>
              </p:cNvPr>
              <p:cNvSpPr/>
              <p:nvPr/>
            </p:nvSpPr>
            <p:spPr>
              <a:xfrm>
                <a:off x="19921661" y="2166674"/>
                <a:ext cx="110966" cy="486822"/>
              </a:xfrm>
              <a:custGeom>
                <a:avLst/>
                <a:gdLst>
                  <a:gd name="connsiteX0" fmla="*/ 0 w 110966"/>
                  <a:gd name="connsiteY0" fmla="*/ 0 h 486822"/>
                  <a:gd name="connsiteX1" fmla="*/ 110966 w 110966"/>
                  <a:gd name="connsiteY1" fmla="*/ 0 h 486822"/>
                  <a:gd name="connsiteX2" fmla="*/ 110966 w 110966"/>
                  <a:gd name="connsiteY2" fmla="*/ 89916 h 486822"/>
                  <a:gd name="connsiteX3" fmla="*/ 0 w 110966"/>
                  <a:gd name="connsiteY3" fmla="*/ 89916 h 486822"/>
                  <a:gd name="connsiteX4" fmla="*/ 0 w 110966"/>
                  <a:gd name="connsiteY4" fmla="*/ 0 h 486822"/>
                  <a:gd name="connsiteX5" fmla="*/ 0 w 110966"/>
                  <a:gd name="connsiteY5" fmla="*/ 138208 h 486822"/>
                  <a:gd name="connsiteX6" fmla="*/ 110966 w 110966"/>
                  <a:gd name="connsiteY6" fmla="*/ 138208 h 486822"/>
                  <a:gd name="connsiteX7" fmla="*/ 110966 w 110966"/>
                  <a:gd name="connsiteY7" fmla="*/ 486823 h 486822"/>
                  <a:gd name="connsiteX8" fmla="*/ 0 w 110966"/>
                  <a:gd name="connsiteY8" fmla="*/ 486823 h 486822"/>
                  <a:gd name="connsiteX9" fmla="*/ 0 w 110966"/>
                  <a:gd name="connsiteY9" fmla="*/ 138208 h 4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66" h="486822">
                    <a:moveTo>
                      <a:pt x="0" y="0"/>
                    </a:moveTo>
                    <a:lnTo>
                      <a:pt x="110966" y="0"/>
                    </a:lnTo>
                    <a:lnTo>
                      <a:pt x="110966" y="89916"/>
                    </a:lnTo>
                    <a:lnTo>
                      <a:pt x="0" y="89916"/>
                    </a:lnTo>
                    <a:lnTo>
                      <a:pt x="0" y="0"/>
                    </a:lnTo>
                    <a:close/>
                    <a:moveTo>
                      <a:pt x="0" y="138208"/>
                    </a:moveTo>
                    <a:lnTo>
                      <a:pt x="110966" y="138208"/>
                    </a:lnTo>
                    <a:lnTo>
                      <a:pt x="110966" y="486823"/>
                    </a:lnTo>
                    <a:lnTo>
                      <a:pt x="0" y="486823"/>
                    </a:lnTo>
                    <a:lnTo>
                      <a:pt x="0" y="138208"/>
                    </a:lnTo>
                    <a:close/>
                  </a:path>
                </a:pathLst>
              </a:custGeom>
              <a:solidFill>
                <a:srgbClr val="000000"/>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E5126398-F7BD-A2E0-B098-7EA289D06E11}"/>
                  </a:ext>
                </a:extLst>
              </p:cNvPr>
              <p:cNvSpPr/>
              <p:nvPr/>
            </p:nvSpPr>
            <p:spPr>
              <a:xfrm>
                <a:off x="20047009" y="2304881"/>
                <a:ext cx="360807" cy="348615"/>
              </a:xfrm>
              <a:custGeom>
                <a:avLst/>
                <a:gdLst>
                  <a:gd name="connsiteX0" fmla="*/ 0 w 360807"/>
                  <a:gd name="connsiteY0" fmla="*/ 0 h 348615"/>
                  <a:gd name="connsiteX1" fmla="*/ 114395 w 360807"/>
                  <a:gd name="connsiteY1" fmla="*/ 0 h 348615"/>
                  <a:gd name="connsiteX2" fmla="*/ 162020 w 360807"/>
                  <a:gd name="connsiteY2" fmla="*/ 157258 h 348615"/>
                  <a:gd name="connsiteX3" fmla="*/ 181070 w 360807"/>
                  <a:gd name="connsiteY3" fmla="*/ 227362 h 348615"/>
                  <a:gd name="connsiteX4" fmla="*/ 182404 w 360807"/>
                  <a:gd name="connsiteY4" fmla="*/ 227362 h 348615"/>
                  <a:gd name="connsiteX5" fmla="*/ 201454 w 360807"/>
                  <a:gd name="connsiteY5" fmla="*/ 157258 h 348615"/>
                  <a:gd name="connsiteX6" fmla="*/ 249841 w 360807"/>
                  <a:gd name="connsiteY6" fmla="*/ 0 h 348615"/>
                  <a:gd name="connsiteX7" fmla="*/ 360807 w 360807"/>
                  <a:gd name="connsiteY7" fmla="*/ 0 h 348615"/>
                  <a:gd name="connsiteX8" fmla="*/ 240316 w 360807"/>
                  <a:gd name="connsiteY8" fmla="*/ 348615 h 348615"/>
                  <a:gd name="connsiteX9" fmla="*/ 120491 w 360807"/>
                  <a:gd name="connsiteY9" fmla="*/ 348615 h 348615"/>
                  <a:gd name="connsiteX10" fmla="*/ 0 w 360807"/>
                  <a:gd name="connsiteY10" fmla="*/ 0 h 34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0807" h="348615">
                    <a:moveTo>
                      <a:pt x="0" y="0"/>
                    </a:moveTo>
                    <a:lnTo>
                      <a:pt x="114395" y="0"/>
                    </a:lnTo>
                    <a:lnTo>
                      <a:pt x="162020" y="157258"/>
                    </a:lnTo>
                    <a:cubicBezTo>
                      <a:pt x="172212" y="192024"/>
                      <a:pt x="181070" y="227362"/>
                      <a:pt x="181070" y="227362"/>
                    </a:cubicBezTo>
                    <a:lnTo>
                      <a:pt x="182404" y="227362"/>
                    </a:lnTo>
                    <a:cubicBezTo>
                      <a:pt x="182404" y="227362"/>
                      <a:pt x="191262" y="191929"/>
                      <a:pt x="201454" y="157258"/>
                    </a:cubicBezTo>
                    <a:lnTo>
                      <a:pt x="249841" y="0"/>
                    </a:lnTo>
                    <a:lnTo>
                      <a:pt x="360807" y="0"/>
                    </a:lnTo>
                    <a:lnTo>
                      <a:pt x="240316" y="348615"/>
                    </a:lnTo>
                    <a:lnTo>
                      <a:pt x="120491" y="348615"/>
                    </a:lnTo>
                    <a:lnTo>
                      <a:pt x="0" y="0"/>
                    </a:lnTo>
                    <a:close/>
                  </a:path>
                </a:pathLst>
              </a:custGeom>
              <a:solidFill>
                <a:srgbClr val="000000"/>
              </a:solidFill>
              <a:ln w="9525"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16137EFA-BE9D-9340-920B-7BB593FCA9C5}"/>
                  </a:ext>
                </a:extLst>
              </p:cNvPr>
              <p:cNvSpPr/>
              <p:nvPr/>
            </p:nvSpPr>
            <p:spPr>
              <a:xfrm>
                <a:off x="20392100" y="2294690"/>
                <a:ext cx="359589" cy="369093"/>
              </a:xfrm>
              <a:custGeom>
                <a:avLst/>
                <a:gdLst>
                  <a:gd name="connsiteX0" fmla="*/ 95 w 359589"/>
                  <a:gd name="connsiteY0" fmla="*/ 183833 h 369093"/>
                  <a:gd name="connsiteX1" fmla="*/ 179165 w 359589"/>
                  <a:gd name="connsiteY1" fmla="*/ 0 h 369093"/>
                  <a:gd name="connsiteX2" fmla="*/ 298323 w 359589"/>
                  <a:gd name="connsiteY2" fmla="*/ 43625 h 369093"/>
                  <a:gd name="connsiteX3" fmla="*/ 359569 w 359589"/>
                  <a:gd name="connsiteY3" fmla="*/ 213170 h 369093"/>
                  <a:gd name="connsiteX4" fmla="*/ 108966 w 359589"/>
                  <a:gd name="connsiteY4" fmla="*/ 213170 h 369093"/>
                  <a:gd name="connsiteX5" fmla="*/ 187261 w 359589"/>
                  <a:gd name="connsiteY5" fmla="*/ 289465 h 369093"/>
                  <a:gd name="connsiteX6" fmla="*/ 245173 w 359589"/>
                  <a:gd name="connsiteY6" fmla="*/ 254699 h 369093"/>
                  <a:gd name="connsiteX7" fmla="*/ 353473 w 359589"/>
                  <a:gd name="connsiteY7" fmla="*/ 254699 h 369093"/>
                  <a:gd name="connsiteX8" fmla="*/ 294894 w 359589"/>
                  <a:gd name="connsiteY8" fmla="*/ 337090 h 369093"/>
                  <a:gd name="connsiteX9" fmla="*/ 185928 w 359589"/>
                  <a:gd name="connsiteY9" fmla="*/ 369094 h 369093"/>
                  <a:gd name="connsiteX10" fmla="*/ 0 w 359589"/>
                  <a:gd name="connsiteY10" fmla="*/ 183928 h 369093"/>
                  <a:gd name="connsiteX11" fmla="*/ 247269 w 359589"/>
                  <a:gd name="connsiteY11" fmla="*/ 147066 h 369093"/>
                  <a:gd name="connsiteX12" fmla="*/ 181260 w 359589"/>
                  <a:gd name="connsiteY12" fmla="*/ 78962 h 369093"/>
                  <a:gd name="connsiteX13" fmla="*/ 109728 w 359589"/>
                  <a:gd name="connsiteY13" fmla="*/ 147066 h 369093"/>
                  <a:gd name="connsiteX14" fmla="*/ 247269 w 359589"/>
                  <a:gd name="connsiteY14" fmla="*/ 147066 h 3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9589" h="369093">
                    <a:moveTo>
                      <a:pt x="95" y="183833"/>
                    </a:moveTo>
                    <a:cubicBezTo>
                      <a:pt x="95" y="79629"/>
                      <a:pt x="72961" y="0"/>
                      <a:pt x="179165" y="0"/>
                    </a:cubicBezTo>
                    <a:cubicBezTo>
                      <a:pt x="228885" y="0"/>
                      <a:pt x="268319" y="16383"/>
                      <a:pt x="298323" y="43625"/>
                    </a:cubicBezTo>
                    <a:cubicBezTo>
                      <a:pt x="339852" y="81725"/>
                      <a:pt x="360330" y="142399"/>
                      <a:pt x="359569" y="213170"/>
                    </a:cubicBezTo>
                    <a:lnTo>
                      <a:pt x="108966" y="213170"/>
                    </a:lnTo>
                    <a:cubicBezTo>
                      <a:pt x="115728" y="260128"/>
                      <a:pt x="141637" y="289465"/>
                      <a:pt x="187261" y="289465"/>
                    </a:cubicBezTo>
                    <a:cubicBezTo>
                      <a:pt x="216503" y="289465"/>
                      <a:pt x="235648" y="276511"/>
                      <a:pt x="245173" y="254699"/>
                    </a:cubicBezTo>
                    <a:lnTo>
                      <a:pt x="353473" y="254699"/>
                    </a:lnTo>
                    <a:cubicBezTo>
                      <a:pt x="345948" y="286036"/>
                      <a:pt x="325564" y="315944"/>
                      <a:pt x="294894" y="337090"/>
                    </a:cubicBezTo>
                    <a:cubicBezTo>
                      <a:pt x="265652" y="357473"/>
                      <a:pt x="230219" y="369094"/>
                      <a:pt x="185928" y="369094"/>
                    </a:cubicBezTo>
                    <a:cubicBezTo>
                      <a:pt x="70866" y="369094"/>
                      <a:pt x="0" y="289465"/>
                      <a:pt x="0" y="183928"/>
                    </a:cubicBezTo>
                    <a:close/>
                    <a:moveTo>
                      <a:pt x="247269" y="147066"/>
                    </a:moveTo>
                    <a:cubicBezTo>
                      <a:pt x="243173" y="105537"/>
                      <a:pt x="217265" y="78962"/>
                      <a:pt x="181260" y="78962"/>
                    </a:cubicBezTo>
                    <a:cubicBezTo>
                      <a:pt x="139065" y="78962"/>
                      <a:pt x="117253" y="105537"/>
                      <a:pt x="109728" y="147066"/>
                    </a:cubicBezTo>
                    <a:lnTo>
                      <a:pt x="247269" y="147066"/>
                    </a:lnTo>
                    <a:close/>
                  </a:path>
                </a:pathLst>
              </a:custGeom>
              <a:solidFill>
                <a:srgbClr val="000000"/>
              </a:solidFill>
              <a:ln w="9525"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7C9809E6-F6F0-F071-6DCB-CE12E982B9BC}"/>
                  </a:ext>
                </a:extLst>
              </p:cNvPr>
              <p:cNvSpPr/>
              <p:nvPr/>
            </p:nvSpPr>
            <p:spPr>
              <a:xfrm>
                <a:off x="20781768" y="2294595"/>
                <a:ext cx="337661" cy="358901"/>
              </a:xfrm>
              <a:custGeom>
                <a:avLst/>
                <a:gdLst>
                  <a:gd name="connsiteX0" fmla="*/ 0 w 337661"/>
                  <a:gd name="connsiteY0" fmla="*/ 10287 h 358901"/>
                  <a:gd name="connsiteX1" fmla="*/ 106871 w 337661"/>
                  <a:gd name="connsiteY1" fmla="*/ 10287 h 358901"/>
                  <a:gd name="connsiteX2" fmla="*/ 106871 w 337661"/>
                  <a:gd name="connsiteY2" fmla="*/ 57912 h 358901"/>
                  <a:gd name="connsiteX3" fmla="*/ 108871 w 337661"/>
                  <a:gd name="connsiteY3" fmla="*/ 57912 h 358901"/>
                  <a:gd name="connsiteX4" fmla="*/ 216503 w 337661"/>
                  <a:gd name="connsiteY4" fmla="*/ 0 h 358901"/>
                  <a:gd name="connsiteX5" fmla="*/ 337661 w 337661"/>
                  <a:gd name="connsiteY5" fmla="*/ 132112 h 358901"/>
                  <a:gd name="connsiteX6" fmla="*/ 337661 w 337661"/>
                  <a:gd name="connsiteY6" fmla="*/ 358902 h 358901"/>
                  <a:gd name="connsiteX7" fmla="*/ 226695 w 337661"/>
                  <a:gd name="connsiteY7" fmla="*/ 358902 h 358901"/>
                  <a:gd name="connsiteX8" fmla="*/ 226695 w 337661"/>
                  <a:gd name="connsiteY8" fmla="*/ 154591 h 358901"/>
                  <a:gd name="connsiteX9" fmla="*/ 172212 w 337661"/>
                  <a:gd name="connsiteY9" fmla="*/ 92583 h 358901"/>
                  <a:gd name="connsiteX10" fmla="*/ 110966 w 337661"/>
                  <a:gd name="connsiteY10" fmla="*/ 166116 h 358901"/>
                  <a:gd name="connsiteX11" fmla="*/ 110966 w 337661"/>
                  <a:gd name="connsiteY11" fmla="*/ 358807 h 358901"/>
                  <a:gd name="connsiteX12" fmla="*/ 0 w 337661"/>
                  <a:gd name="connsiteY12" fmla="*/ 358807 h 358901"/>
                  <a:gd name="connsiteX13" fmla="*/ 0 w 337661"/>
                  <a:gd name="connsiteY13" fmla="*/ 10192 h 35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7661" h="358901">
                    <a:moveTo>
                      <a:pt x="0" y="10287"/>
                    </a:moveTo>
                    <a:lnTo>
                      <a:pt x="106871" y="10287"/>
                    </a:lnTo>
                    <a:lnTo>
                      <a:pt x="106871" y="57912"/>
                    </a:lnTo>
                    <a:lnTo>
                      <a:pt x="108871" y="57912"/>
                    </a:lnTo>
                    <a:cubicBezTo>
                      <a:pt x="134779" y="20479"/>
                      <a:pt x="168116" y="0"/>
                      <a:pt x="216503" y="0"/>
                    </a:cubicBezTo>
                    <a:cubicBezTo>
                      <a:pt x="292798" y="0"/>
                      <a:pt x="337661" y="54483"/>
                      <a:pt x="337661" y="132112"/>
                    </a:cubicBezTo>
                    <a:lnTo>
                      <a:pt x="337661" y="358902"/>
                    </a:lnTo>
                    <a:lnTo>
                      <a:pt x="226695" y="358902"/>
                    </a:lnTo>
                    <a:lnTo>
                      <a:pt x="226695" y="154591"/>
                    </a:lnTo>
                    <a:cubicBezTo>
                      <a:pt x="226695" y="117824"/>
                      <a:pt x="208312" y="92583"/>
                      <a:pt x="172212" y="92583"/>
                    </a:cubicBezTo>
                    <a:cubicBezTo>
                      <a:pt x="136112" y="92583"/>
                      <a:pt x="110966" y="123253"/>
                      <a:pt x="110966" y="166116"/>
                    </a:cubicBezTo>
                    <a:lnTo>
                      <a:pt x="110966" y="358807"/>
                    </a:lnTo>
                    <a:lnTo>
                      <a:pt x="0" y="358807"/>
                    </a:lnTo>
                    <a:lnTo>
                      <a:pt x="0" y="10192"/>
                    </a:lnTo>
                    <a:close/>
                  </a:path>
                </a:pathLst>
              </a:custGeom>
              <a:solidFill>
                <a:srgbClr val="000000"/>
              </a:solidFill>
              <a:ln w="9525" cap="flat">
                <a:noFill/>
                <a:prstDash val="solid"/>
                <a:miter/>
              </a:ln>
            </p:spPr>
            <p:txBody>
              <a:bodyPr rtlCol="0" anchor="ctr"/>
              <a:lstStyle/>
              <a:p>
                <a:endParaRPr lang="en-AU"/>
              </a:p>
            </p:txBody>
          </p:sp>
        </p:grpSp>
        <p:sp>
          <p:nvSpPr>
            <p:cNvPr id="8" name="Freeform: Shape 7">
              <a:extLst>
                <a:ext uri="{FF2B5EF4-FFF2-40B4-BE49-F238E27FC236}">
                  <a16:creationId xmlns:a16="http://schemas.microsoft.com/office/drawing/2014/main" id="{C92D95A6-9985-6906-C4CC-4187E08BA257}"/>
                </a:ext>
              </a:extLst>
            </p:cNvPr>
            <p:cNvSpPr/>
            <p:nvPr/>
          </p:nvSpPr>
          <p:spPr>
            <a:xfrm>
              <a:off x="19472271" y="2723696"/>
              <a:ext cx="217932" cy="463010"/>
            </a:xfrm>
            <a:custGeom>
              <a:avLst/>
              <a:gdLst>
                <a:gd name="connsiteX0" fmla="*/ 46291 w 217932"/>
                <a:gd name="connsiteY0" fmla="*/ 366998 h 463010"/>
                <a:gd name="connsiteX1" fmla="*/ 46291 w 217932"/>
                <a:gd name="connsiteY1" fmla="*/ 179737 h 463010"/>
                <a:gd name="connsiteX2" fmla="*/ 0 w 217932"/>
                <a:gd name="connsiteY2" fmla="*/ 179737 h 463010"/>
                <a:gd name="connsiteX3" fmla="*/ 0 w 217932"/>
                <a:gd name="connsiteY3" fmla="*/ 110300 h 463010"/>
                <a:gd name="connsiteX4" fmla="*/ 46291 w 217932"/>
                <a:gd name="connsiteY4" fmla="*/ 110300 h 463010"/>
                <a:gd name="connsiteX5" fmla="*/ 46291 w 217932"/>
                <a:gd name="connsiteY5" fmla="*/ 0 h 463010"/>
                <a:gd name="connsiteX6" fmla="*/ 154591 w 217932"/>
                <a:gd name="connsiteY6" fmla="*/ 0 h 463010"/>
                <a:gd name="connsiteX7" fmla="*/ 154591 w 217932"/>
                <a:gd name="connsiteY7" fmla="*/ 110300 h 463010"/>
                <a:gd name="connsiteX8" fmla="*/ 217932 w 217932"/>
                <a:gd name="connsiteY8" fmla="*/ 110300 h 463010"/>
                <a:gd name="connsiteX9" fmla="*/ 217932 w 217932"/>
                <a:gd name="connsiteY9" fmla="*/ 179737 h 463010"/>
                <a:gd name="connsiteX10" fmla="*/ 154591 w 217932"/>
                <a:gd name="connsiteY10" fmla="*/ 179737 h 463010"/>
                <a:gd name="connsiteX11" fmla="*/ 154591 w 217932"/>
                <a:gd name="connsiteY11" fmla="*/ 343186 h 463010"/>
                <a:gd name="connsiteX12" fmla="*/ 193453 w 217932"/>
                <a:gd name="connsiteY12" fmla="*/ 377190 h 463010"/>
                <a:gd name="connsiteX13" fmla="*/ 217932 w 217932"/>
                <a:gd name="connsiteY13" fmla="*/ 376523 h 463010"/>
                <a:gd name="connsiteX14" fmla="*/ 217932 w 217932"/>
                <a:gd name="connsiteY14" fmla="*/ 457581 h 463010"/>
                <a:gd name="connsiteX15" fmla="*/ 157353 w 217932"/>
                <a:gd name="connsiteY15" fmla="*/ 463010 h 463010"/>
                <a:gd name="connsiteX16" fmla="*/ 46387 w 217932"/>
                <a:gd name="connsiteY16" fmla="*/ 366998 h 4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7932" h="463010">
                  <a:moveTo>
                    <a:pt x="46291" y="366998"/>
                  </a:moveTo>
                  <a:lnTo>
                    <a:pt x="46291" y="179737"/>
                  </a:lnTo>
                  <a:lnTo>
                    <a:pt x="0" y="179737"/>
                  </a:lnTo>
                  <a:lnTo>
                    <a:pt x="0" y="110300"/>
                  </a:lnTo>
                  <a:lnTo>
                    <a:pt x="46291" y="110300"/>
                  </a:lnTo>
                  <a:lnTo>
                    <a:pt x="46291" y="0"/>
                  </a:lnTo>
                  <a:lnTo>
                    <a:pt x="154591" y="0"/>
                  </a:lnTo>
                  <a:lnTo>
                    <a:pt x="154591" y="110300"/>
                  </a:lnTo>
                  <a:lnTo>
                    <a:pt x="217932" y="110300"/>
                  </a:lnTo>
                  <a:lnTo>
                    <a:pt x="217932" y="179737"/>
                  </a:lnTo>
                  <a:lnTo>
                    <a:pt x="154591" y="179737"/>
                  </a:lnTo>
                  <a:lnTo>
                    <a:pt x="154591" y="343186"/>
                  </a:lnTo>
                  <a:cubicBezTo>
                    <a:pt x="154591" y="370427"/>
                    <a:pt x="169545" y="377190"/>
                    <a:pt x="193453" y="377190"/>
                  </a:cubicBezTo>
                  <a:cubicBezTo>
                    <a:pt x="202978" y="377190"/>
                    <a:pt x="213836" y="376523"/>
                    <a:pt x="217932" y="376523"/>
                  </a:cubicBezTo>
                  <a:lnTo>
                    <a:pt x="217932" y="457581"/>
                  </a:lnTo>
                  <a:cubicBezTo>
                    <a:pt x="208407" y="460343"/>
                    <a:pt x="187261" y="463010"/>
                    <a:pt x="157353" y="463010"/>
                  </a:cubicBezTo>
                  <a:cubicBezTo>
                    <a:pt x="92678" y="463010"/>
                    <a:pt x="46387" y="441865"/>
                    <a:pt x="46387" y="366998"/>
                  </a:cubicBezTo>
                  <a:close/>
                </a:path>
              </a:pathLst>
            </a:custGeom>
            <a:solidFill>
              <a:srgbClr val="000000"/>
            </a:solidFill>
            <a:ln w="9525" cap="flat">
              <a:noFill/>
              <a:prstDash val="solid"/>
              <a:miter/>
            </a:ln>
          </p:spPr>
          <p:txBody>
            <a:bodyPr rtlCol="0" anchor="ctr"/>
            <a:lstStyle/>
            <a:p>
              <a:endParaRPr lang="en-AU"/>
            </a:p>
          </p:txBody>
        </p:sp>
        <p:grpSp>
          <p:nvGrpSpPr>
            <p:cNvPr id="9" name="Graphic 48">
              <a:extLst>
                <a:ext uri="{FF2B5EF4-FFF2-40B4-BE49-F238E27FC236}">
                  <a16:creationId xmlns:a16="http://schemas.microsoft.com/office/drawing/2014/main" id="{F3AA34F3-FE61-914D-9578-2D950AB9709D}"/>
                </a:ext>
              </a:extLst>
            </p:cNvPr>
            <p:cNvGrpSpPr/>
            <p:nvPr/>
          </p:nvGrpSpPr>
          <p:grpSpPr>
            <a:xfrm>
              <a:off x="20166167" y="2695788"/>
              <a:ext cx="2119122" cy="497776"/>
              <a:chOff x="20166167" y="2695788"/>
              <a:chExt cx="2119122" cy="497776"/>
            </a:xfrm>
            <a:solidFill>
              <a:srgbClr val="000000"/>
            </a:solidFill>
          </p:grpSpPr>
          <p:sp>
            <p:nvSpPr>
              <p:cNvPr id="17" name="Freeform: Shape 16">
                <a:extLst>
                  <a:ext uri="{FF2B5EF4-FFF2-40B4-BE49-F238E27FC236}">
                    <a16:creationId xmlns:a16="http://schemas.microsoft.com/office/drawing/2014/main" id="{2EE58A11-4C4F-630B-DEF2-5532091DC82A}"/>
                  </a:ext>
                </a:extLst>
              </p:cNvPr>
              <p:cNvSpPr/>
              <p:nvPr/>
            </p:nvSpPr>
            <p:spPr>
              <a:xfrm>
                <a:off x="20166167" y="2695788"/>
                <a:ext cx="362807" cy="497776"/>
              </a:xfrm>
              <a:custGeom>
                <a:avLst/>
                <a:gdLst>
                  <a:gd name="connsiteX0" fmla="*/ 0 w 362807"/>
                  <a:gd name="connsiteY0" fmla="*/ 312515 h 497776"/>
                  <a:gd name="connsiteX1" fmla="*/ 152495 w 362807"/>
                  <a:gd name="connsiteY1" fmla="*/ 128016 h 497776"/>
                  <a:gd name="connsiteX2" fmla="*/ 249841 w 362807"/>
                  <a:gd name="connsiteY2" fmla="*/ 177737 h 497776"/>
                  <a:gd name="connsiteX3" fmla="*/ 251841 w 362807"/>
                  <a:gd name="connsiteY3" fmla="*/ 177737 h 497776"/>
                  <a:gd name="connsiteX4" fmla="*/ 251841 w 362807"/>
                  <a:gd name="connsiteY4" fmla="*/ 0 h 497776"/>
                  <a:gd name="connsiteX5" fmla="*/ 362808 w 362807"/>
                  <a:gd name="connsiteY5" fmla="*/ 0 h 497776"/>
                  <a:gd name="connsiteX6" fmla="*/ 362808 w 362807"/>
                  <a:gd name="connsiteY6" fmla="*/ 486823 h 497776"/>
                  <a:gd name="connsiteX7" fmla="*/ 256604 w 362807"/>
                  <a:gd name="connsiteY7" fmla="*/ 486823 h 497776"/>
                  <a:gd name="connsiteX8" fmla="*/ 256604 w 362807"/>
                  <a:gd name="connsiteY8" fmla="*/ 439864 h 497776"/>
                  <a:gd name="connsiteX9" fmla="*/ 255270 w 362807"/>
                  <a:gd name="connsiteY9" fmla="*/ 439864 h 497776"/>
                  <a:gd name="connsiteX10" fmla="*/ 152495 w 362807"/>
                  <a:gd name="connsiteY10" fmla="*/ 497777 h 497776"/>
                  <a:gd name="connsiteX11" fmla="*/ 0 w 362807"/>
                  <a:gd name="connsiteY11" fmla="*/ 312611 h 497776"/>
                  <a:gd name="connsiteX12" fmla="*/ 254698 w 362807"/>
                  <a:gd name="connsiteY12" fmla="*/ 312515 h 497776"/>
                  <a:gd name="connsiteX13" fmla="*/ 182499 w 362807"/>
                  <a:gd name="connsiteY13" fmla="*/ 211741 h 497776"/>
                  <a:gd name="connsiteX14" fmla="*/ 112395 w 362807"/>
                  <a:gd name="connsiteY14" fmla="*/ 311182 h 497776"/>
                  <a:gd name="connsiteX15" fmla="*/ 181166 w 362807"/>
                  <a:gd name="connsiteY15" fmla="*/ 409956 h 497776"/>
                  <a:gd name="connsiteX16" fmla="*/ 254698 w 362807"/>
                  <a:gd name="connsiteY16" fmla="*/ 312611 h 49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807" h="497776">
                    <a:moveTo>
                      <a:pt x="0" y="312515"/>
                    </a:moveTo>
                    <a:cubicBezTo>
                      <a:pt x="0" y="203549"/>
                      <a:pt x="62675" y="128016"/>
                      <a:pt x="152495" y="128016"/>
                    </a:cubicBezTo>
                    <a:cubicBezTo>
                      <a:pt x="201549" y="128016"/>
                      <a:pt x="229458" y="148400"/>
                      <a:pt x="249841" y="177737"/>
                    </a:cubicBezTo>
                    <a:lnTo>
                      <a:pt x="251841" y="177737"/>
                    </a:lnTo>
                    <a:lnTo>
                      <a:pt x="251841" y="0"/>
                    </a:lnTo>
                    <a:lnTo>
                      <a:pt x="362808" y="0"/>
                    </a:lnTo>
                    <a:lnTo>
                      <a:pt x="362808" y="486823"/>
                    </a:lnTo>
                    <a:lnTo>
                      <a:pt x="256604" y="486823"/>
                    </a:lnTo>
                    <a:lnTo>
                      <a:pt x="256604" y="439864"/>
                    </a:lnTo>
                    <a:lnTo>
                      <a:pt x="255270" y="439864"/>
                    </a:lnTo>
                    <a:cubicBezTo>
                      <a:pt x="234125" y="475964"/>
                      <a:pt x="198120" y="497777"/>
                      <a:pt x="152495" y="497777"/>
                    </a:cubicBezTo>
                    <a:cubicBezTo>
                      <a:pt x="63246" y="497777"/>
                      <a:pt x="0" y="429006"/>
                      <a:pt x="0" y="312611"/>
                    </a:cubicBezTo>
                    <a:close/>
                    <a:moveTo>
                      <a:pt x="254698" y="312515"/>
                    </a:moveTo>
                    <a:cubicBezTo>
                      <a:pt x="254698" y="253937"/>
                      <a:pt x="230886" y="211741"/>
                      <a:pt x="182499" y="211741"/>
                    </a:cubicBezTo>
                    <a:cubicBezTo>
                      <a:pt x="138208" y="211741"/>
                      <a:pt x="112395" y="252603"/>
                      <a:pt x="112395" y="311182"/>
                    </a:cubicBezTo>
                    <a:cubicBezTo>
                      <a:pt x="112395" y="369761"/>
                      <a:pt x="138303" y="409956"/>
                      <a:pt x="181166" y="409956"/>
                    </a:cubicBezTo>
                    <a:cubicBezTo>
                      <a:pt x="227457" y="409956"/>
                      <a:pt x="254698" y="369761"/>
                      <a:pt x="254698" y="312611"/>
                    </a:cubicBezTo>
                    <a:close/>
                  </a:path>
                </a:pathLst>
              </a:custGeom>
              <a:solidFill>
                <a:srgbClr val="000000"/>
              </a:solid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C412B763-16E6-6F10-06D4-C0CCEB64F4A2}"/>
                  </a:ext>
                </a:extLst>
              </p:cNvPr>
              <p:cNvSpPr/>
              <p:nvPr/>
            </p:nvSpPr>
            <p:spPr>
              <a:xfrm>
                <a:off x="20559645" y="2823804"/>
                <a:ext cx="359589" cy="369093"/>
              </a:xfrm>
              <a:custGeom>
                <a:avLst/>
                <a:gdLst>
                  <a:gd name="connsiteX0" fmla="*/ 95 w 359589"/>
                  <a:gd name="connsiteY0" fmla="*/ 183832 h 369093"/>
                  <a:gd name="connsiteX1" fmla="*/ 179165 w 359589"/>
                  <a:gd name="connsiteY1" fmla="*/ 0 h 369093"/>
                  <a:gd name="connsiteX2" fmla="*/ 298323 w 359589"/>
                  <a:gd name="connsiteY2" fmla="*/ 43625 h 369093"/>
                  <a:gd name="connsiteX3" fmla="*/ 359569 w 359589"/>
                  <a:gd name="connsiteY3" fmla="*/ 213170 h 369093"/>
                  <a:gd name="connsiteX4" fmla="*/ 108966 w 359589"/>
                  <a:gd name="connsiteY4" fmla="*/ 213170 h 369093"/>
                  <a:gd name="connsiteX5" fmla="*/ 187262 w 359589"/>
                  <a:gd name="connsiteY5" fmla="*/ 289465 h 369093"/>
                  <a:gd name="connsiteX6" fmla="*/ 245173 w 359589"/>
                  <a:gd name="connsiteY6" fmla="*/ 254698 h 369093"/>
                  <a:gd name="connsiteX7" fmla="*/ 353473 w 359589"/>
                  <a:gd name="connsiteY7" fmla="*/ 254698 h 369093"/>
                  <a:gd name="connsiteX8" fmla="*/ 294894 w 359589"/>
                  <a:gd name="connsiteY8" fmla="*/ 337090 h 369093"/>
                  <a:gd name="connsiteX9" fmla="*/ 185928 w 359589"/>
                  <a:gd name="connsiteY9" fmla="*/ 369094 h 369093"/>
                  <a:gd name="connsiteX10" fmla="*/ 0 w 359589"/>
                  <a:gd name="connsiteY10" fmla="*/ 183928 h 369093"/>
                  <a:gd name="connsiteX11" fmla="*/ 247269 w 359589"/>
                  <a:gd name="connsiteY11" fmla="*/ 147066 h 369093"/>
                  <a:gd name="connsiteX12" fmla="*/ 181261 w 359589"/>
                  <a:gd name="connsiteY12" fmla="*/ 78962 h 369093"/>
                  <a:gd name="connsiteX13" fmla="*/ 109728 w 359589"/>
                  <a:gd name="connsiteY13" fmla="*/ 147066 h 369093"/>
                  <a:gd name="connsiteX14" fmla="*/ 247269 w 359589"/>
                  <a:gd name="connsiteY14" fmla="*/ 147066 h 3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9589" h="369093">
                    <a:moveTo>
                      <a:pt x="95" y="183832"/>
                    </a:moveTo>
                    <a:cubicBezTo>
                      <a:pt x="95" y="79629"/>
                      <a:pt x="72962" y="0"/>
                      <a:pt x="179165" y="0"/>
                    </a:cubicBezTo>
                    <a:cubicBezTo>
                      <a:pt x="228886" y="0"/>
                      <a:pt x="268320" y="16383"/>
                      <a:pt x="298323" y="43625"/>
                    </a:cubicBezTo>
                    <a:cubicBezTo>
                      <a:pt x="339852" y="81725"/>
                      <a:pt x="360331" y="142399"/>
                      <a:pt x="359569" y="213170"/>
                    </a:cubicBezTo>
                    <a:lnTo>
                      <a:pt x="108966" y="213170"/>
                    </a:lnTo>
                    <a:cubicBezTo>
                      <a:pt x="115729" y="260128"/>
                      <a:pt x="141637" y="289465"/>
                      <a:pt x="187262" y="289465"/>
                    </a:cubicBezTo>
                    <a:cubicBezTo>
                      <a:pt x="216504" y="289465"/>
                      <a:pt x="235648" y="276511"/>
                      <a:pt x="245173" y="254698"/>
                    </a:cubicBezTo>
                    <a:lnTo>
                      <a:pt x="353473" y="254698"/>
                    </a:lnTo>
                    <a:cubicBezTo>
                      <a:pt x="345948" y="286036"/>
                      <a:pt x="325564" y="315944"/>
                      <a:pt x="294894" y="337090"/>
                    </a:cubicBezTo>
                    <a:cubicBezTo>
                      <a:pt x="265652" y="357473"/>
                      <a:pt x="230220" y="369094"/>
                      <a:pt x="185928" y="369094"/>
                    </a:cubicBezTo>
                    <a:cubicBezTo>
                      <a:pt x="70866" y="369094"/>
                      <a:pt x="0" y="289465"/>
                      <a:pt x="0" y="183928"/>
                    </a:cubicBezTo>
                    <a:close/>
                    <a:moveTo>
                      <a:pt x="247269" y="147066"/>
                    </a:moveTo>
                    <a:cubicBezTo>
                      <a:pt x="243174" y="105537"/>
                      <a:pt x="217265" y="78962"/>
                      <a:pt x="181261" y="78962"/>
                    </a:cubicBezTo>
                    <a:cubicBezTo>
                      <a:pt x="139065" y="78962"/>
                      <a:pt x="117253" y="105537"/>
                      <a:pt x="109728" y="147066"/>
                    </a:cubicBezTo>
                    <a:lnTo>
                      <a:pt x="247269" y="147066"/>
                    </a:lnTo>
                    <a:close/>
                  </a:path>
                </a:pathLst>
              </a:custGeom>
              <a:solidFill>
                <a:srgbClr val="000000"/>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1E0B9C8A-63EB-1061-8024-096FCD054D12}"/>
                  </a:ext>
                </a:extLst>
              </p:cNvPr>
              <p:cNvSpPr/>
              <p:nvPr/>
            </p:nvSpPr>
            <p:spPr>
              <a:xfrm>
                <a:off x="20949980" y="2695788"/>
                <a:ext cx="112394" cy="486822"/>
              </a:xfrm>
              <a:custGeom>
                <a:avLst/>
                <a:gdLst>
                  <a:gd name="connsiteX0" fmla="*/ 0 w 112394"/>
                  <a:gd name="connsiteY0" fmla="*/ 0 h 486822"/>
                  <a:gd name="connsiteX1" fmla="*/ 112395 w 112394"/>
                  <a:gd name="connsiteY1" fmla="*/ 0 h 486822"/>
                  <a:gd name="connsiteX2" fmla="*/ 112395 w 112394"/>
                  <a:gd name="connsiteY2" fmla="*/ 486823 h 486822"/>
                  <a:gd name="connsiteX3" fmla="*/ 0 w 112394"/>
                  <a:gd name="connsiteY3" fmla="*/ 486823 h 486822"/>
                  <a:gd name="connsiteX4" fmla="*/ 0 w 112394"/>
                  <a:gd name="connsiteY4" fmla="*/ 0 h 486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4" h="486822">
                    <a:moveTo>
                      <a:pt x="0" y="0"/>
                    </a:moveTo>
                    <a:lnTo>
                      <a:pt x="112395" y="0"/>
                    </a:lnTo>
                    <a:lnTo>
                      <a:pt x="112395" y="486823"/>
                    </a:lnTo>
                    <a:lnTo>
                      <a:pt x="0" y="486823"/>
                    </a:lnTo>
                    <a:lnTo>
                      <a:pt x="0" y="0"/>
                    </a:lnTo>
                    <a:close/>
                  </a:path>
                </a:pathLst>
              </a:custGeom>
              <a:solidFill>
                <a:srgbClr val="000000"/>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3F179186-E381-FCB7-CCC3-705F7963062B}"/>
                  </a:ext>
                </a:extLst>
              </p:cNvPr>
              <p:cNvSpPr/>
              <p:nvPr/>
            </p:nvSpPr>
            <p:spPr>
              <a:xfrm>
                <a:off x="21109333" y="2695788"/>
                <a:ext cx="110965" cy="486822"/>
              </a:xfrm>
              <a:custGeom>
                <a:avLst/>
                <a:gdLst>
                  <a:gd name="connsiteX0" fmla="*/ 0 w 110965"/>
                  <a:gd name="connsiteY0" fmla="*/ 0 h 486822"/>
                  <a:gd name="connsiteX1" fmla="*/ 110966 w 110965"/>
                  <a:gd name="connsiteY1" fmla="*/ 0 h 486822"/>
                  <a:gd name="connsiteX2" fmla="*/ 110966 w 110965"/>
                  <a:gd name="connsiteY2" fmla="*/ 89916 h 486822"/>
                  <a:gd name="connsiteX3" fmla="*/ 0 w 110965"/>
                  <a:gd name="connsiteY3" fmla="*/ 89916 h 486822"/>
                  <a:gd name="connsiteX4" fmla="*/ 0 w 110965"/>
                  <a:gd name="connsiteY4" fmla="*/ 0 h 486822"/>
                  <a:gd name="connsiteX5" fmla="*/ 0 w 110965"/>
                  <a:gd name="connsiteY5" fmla="*/ 138208 h 486822"/>
                  <a:gd name="connsiteX6" fmla="*/ 110966 w 110965"/>
                  <a:gd name="connsiteY6" fmla="*/ 138208 h 486822"/>
                  <a:gd name="connsiteX7" fmla="*/ 110966 w 110965"/>
                  <a:gd name="connsiteY7" fmla="*/ 486823 h 486822"/>
                  <a:gd name="connsiteX8" fmla="*/ 0 w 110965"/>
                  <a:gd name="connsiteY8" fmla="*/ 486823 h 486822"/>
                  <a:gd name="connsiteX9" fmla="*/ 0 w 110965"/>
                  <a:gd name="connsiteY9" fmla="*/ 138208 h 4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65" h="486822">
                    <a:moveTo>
                      <a:pt x="0" y="0"/>
                    </a:moveTo>
                    <a:lnTo>
                      <a:pt x="110966" y="0"/>
                    </a:lnTo>
                    <a:lnTo>
                      <a:pt x="110966" y="89916"/>
                    </a:lnTo>
                    <a:lnTo>
                      <a:pt x="0" y="89916"/>
                    </a:lnTo>
                    <a:lnTo>
                      <a:pt x="0" y="0"/>
                    </a:lnTo>
                    <a:close/>
                    <a:moveTo>
                      <a:pt x="0" y="138208"/>
                    </a:moveTo>
                    <a:lnTo>
                      <a:pt x="110966" y="138208"/>
                    </a:lnTo>
                    <a:lnTo>
                      <a:pt x="110966" y="486823"/>
                    </a:lnTo>
                    <a:lnTo>
                      <a:pt x="0" y="486823"/>
                    </a:lnTo>
                    <a:lnTo>
                      <a:pt x="0" y="138208"/>
                    </a:lnTo>
                    <a:close/>
                  </a:path>
                </a:pathLst>
              </a:custGeom>
              <a:solidFill>
                <a:srgbClr val="000000"/>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6967FE5B-CA40-336D-E254-E6D3053A3348}"/>
                  </a:ext>
                </a:extLst>
              </p:cNvPr>
              <p:cNvSpPr/>
              <p:nvPr/>
            </p:nvSpPr>
            <p:spPr>
              <a:xfrm>
                <a:off x="21234586" y="2833995"/>
                <a:ext cx="360807" cy="348614"/>
              </a:xfrm>
              <a:custGeom>
                <a:avLst/>
                <a:gdLst>
                  <a:gd name="connsiteX0" fmla="*/ 0 w 360807"/>
                  <a:gd name="connsiteY0" fmla="*/ 0 h 348614"/>
                  <a:gd name="connsiteX1" fmla="*/ 114395 w 360807"/>
                  <a:gd name="connsiteY1" fmla="*/ 0 h 348614"/>
                  <a:gd name="connsiteX2" fmla="*/ 162020 w 360807"/>
                  <a:gd name="connsiteY2" fmla="*/ 157258 h 348614"/>
                  <a:gd name="connsiteX3" fmla="*/ 181070 w 360807"/>
                  <a:gd name="connsiteY3" fmla="*/ 227362 h 348614"/>
                  <a:gd name="connsiteX4" fmla="*/ 182404 w 360807"/>
                  <a:gd name="connsiteY4" fmla="*/ 227362 h 348614"/>
                  <a:gd name="connsiteX5" fmla="*/ 201454 w 360807"/>
                  <a:gd name="connsiteY5" fmla="*/ 157258 h 348614"/>
                  <a:gd name="connsiteX6" fmla="*/ 249841 w 360807"/>
                  <a:gd name="connsiteY6" fmla="*/ 0 h 348614"/>
                  <a:gd name="connsiteX7" fmla="*/ 360807 w 360807"/>
                  <a:gd name="connsiteY7" fmla="*/ 0 h 348614"/>
                  <a:gd name="connsiteX8" fmla="*/ 240316 w 360807"/>
                  <a:gd name="connsiteY8" fmla="*/ 348615 h 348614"/>
                  <a:gd name="connsiteX9" fmla="*/ 120491 w 360807"/>
                  <a:gd name="connsiteY9" fmla="*/ 348615 h 348614"/>
                  <a:gd name="connsiteX10" fmla="*/ 0 w 360807"/>
                  <a:gd name="connsiteY10" fmla="*/ 0 h 34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0807" h="348614">
                    <a:moveTo>
                      <a:pt x="0" y="0"/>
                    </a:moveTo>
                    <a:lnTo>
                      <a:pt x="114395" y="0"/>
                    </a:lnTo>
                    <a:lnTo>
                      <a:pt x="162020" y="157258"/>
                    </a:lnTo>
                    <a:cubicBezTo>
                      <a:pt x="172212" y="192024"/>
                      <a:pt x="181070" y="227362"/>
                      <a:pt x="181070" y="227362"/>
                    </a:cubicBezTo>
                    <a:lnTo>
                      <a:pt x="182404" y="227362"/>
                    </a:lnTo>
                    <a:cubicBezTo>
                      <a:pt x="182404" y="227362"/>
                      <a:pt x="191262" y="191929"/>
                      <a:pt x="201454" y="157258"/>
                    </a:cubicBezTo>
                    <a:lnTo>
                      <a:pt x="249841" y="0"/>
                    </a:lnTo>
                    <a:lnTo>
                      <a:pt x="360807" y="0"/>
                    </a:lnTo>
                    <a:lnTo>
                      <a:pt x="240316" y="348615"/>
                    </a:lnTo>
                    <a:lnTo>
                      <a:pt x="120491" y="348615"/>
                    </a:lnTo>
                    <a:lnTo>
                      <a:pt x="0" y="0"/>
                    </a:lnTo>
                    <a:close/>
                  </a:path>
                </a:pathLst>
              </a:custGeom>
              <a:solidFill>
                <a:srgbClr val="000000"/>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AE28B5B2-584D-07EB-CFC4-0015736B87F5}"/>
                  </a:ext>
                </a:extLst>
              </p:cNvPr>
              <p:cNvSpPr/>
              <p:nvPr/>
            </p:nvSpPr>
            <p:spPr>
              <a:xfrm>
                <a:off x="21579773" y="2823804"/>
                <a:ext cx="359589" cy="369093"/>
              </a:xfrm>
              <a:custGeom>
                <a:avLst/>
                <a:gdLst>
                  <a:gd name="connsiteX0" fmla="*/ 95 w 359589"/>
                  <a:gd name="connsiteY0" fmla="*/ 183832 h 369093"/>
                  <a:gd name="connsiteX1" fmla="*/ 179165 w 359589"/>
                  <a:gd name="connsiteY1" fmla="*/ 0 h 369093"/>
                  <a:gd name="connsiteX2" fmla="*/ 298323 w 359589"/>
                  <a:gd name="connsiteY2" fmla="*/ 43625 h 369093"/>
                  <a:gd name="connsiteX3" fmla="*/ 359569 w 359589"/>
                  <a:gd name="connsiteY3" fmla="*/ 213170 h 369093"/>
                  <a:gd name="connsiteX4" fmla="*/ 108966 w 359589"/>
                  <a:gd name="connsiteY4" fmla="*/ 213170 h 369093"/>
                  <a:gd name="connsiteX5" fmla="*/ 187261 w 359589"/>
                  <a:gd name="connsiteY5" fmla="*/ 289465 h 369093"/>
                  <a:gd name="connsiteX6" fmla="*/ 245173 w 359589"/>
                  <a:gd name="connsiteY6" fmla="*/ 254698 h 369093"/>
                  <a:gd name="connsiteX7" fmla="*/ 353473 w 359589"/>
                  <a:gd name="connsiteY7" fmla="*/ 254698 h 369093"/>
                  <a:gd name="connsiteX8" fmla="*/ 294894 w 359589"/>
                  <a:gd name="connsiteY8" fmla="*/ 337090 h 369093"/>
                  <a:gd name="connsiteX9" fmla="*/ 185928 w 359589"/>
                  <a:gd name="connsiteY9" fmla="*/ 369094 h 369093"/>
                  <a:gd name="connsiteX10" fmla="*/ 0 w 359589"/>
                  <a:gd name="connsiteY10" fmla="*/ 183928 h 369093"/>
                  <a:gd name="connsiteX11" fmla="*/ 247269 w 359589"/>
                  <a:gd name="connsiteY11" fmla="*/ 147066 h 369093"/>
                  <a:gd name="connsiteX12" fmla="*/ 181260 w 359589"/>
                  <a:gd name="connsiteY12" fmla="*/ 78962 h 369093"/>
                  <a:gd name="connsiteX13" fmla="*/ 109728 w 359589"/>
                  <a:gd name="connsiteY13" fmla="*/ 147066 h 369093"/>
                  <a:gd name="connsiteX14" fmla="*/ 247269 w 359589"/>
                  <a:gd name="connsiteY14" fmla="*/ 147066 h 3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9589" h="369093">
                    <a:moveTo>
                      <a:pt x="95" y="183832"/>
                    </a:moveTo>
                    <a:cubicBezTo>
                      <a:pt x="95" y="79629"/>
                      <a:pt x="72961" y="0"/>
                      <a:pt x="179165" y="0"/>
                    </a:cubicBezTo>
                    <a:cubicBezTo>
                      <a:pt x="228885" y="0"/>
                      <a:pt x="268319" y="16383"/>
                      <a:pt x="298323" y="43625"/>
                    </a:cubicBezTo>
                    <a:cubicBezTo>
                      <a:pt x="339852" y="81725"/>
                      <a:pt x="360330" y="142399"/>
                      <a:pt x="359569" y="213170"/>
                    </a:cubicBezTo>
                    <a:lnTo>
                      <a:pt x="108966" y="213170"/>
                    </a:lnTo>
                    <a:cubicBezTo>
                      <a:pt x="115728" y="260128"/>
                      <a:pt x="141637" y="289465"/>
                      <a:pt x="187261" y="289465"/>
                    </a:cubicBezTo>
                    <a:cubicBezTo>
                      <a:pt x="216503" y="289465"/>
                      <a:pt x="235648" y="276511"/>
                      <a:pt x="245173" y="254698"/>
                    </a:cubicBezTo>
                    <a:lnTo>
                      <a:pt x="353473" y="254698"/>
                    </a:lnTo>
                    <a:cubicBezTo>
                      <a:pt x="345948" y="286036"/>
                      <a:pt x="325564" y="315944"/>
                      <a:pt x="294894" y="337090"/>
                    </a:cubicBezTo>
                    <a:cubicBezTo>
                      <a:pt x="265652" y="357473"/>
                      <a:pt x="230219" y="369094"/>
                      <a:pt x="185928" y="369094"/>
                    </a:cubicBezTo>
                    <a:cubicBezTo>
                      <a:pt x="70866" y="369094"/>
                      <a:pt x="0" y="289465"/>
                      <a:pt x="0" y="183928"/>
                    </a:cubicBezTo>
                    <a:close/>
                    <a:moveTo>
                      <a:pt x="247269" y="147066"/>
                    </a:moveTo>
                    <a:cubicBezTo>
                      <a:pt x="243173" y="105537"/>
                      <a:pt x="217265" y="78962"/>
                      <a:pt x="181260" y="78962"/>
                    </a:cubicBezTo>
                    <a:cubicBezTo>
                      <a:pt x="139065" y="78962"/>
                      <a:pt x="117253" y="105537"/>
                      <a:pt x="109728" y="147066"/>
                    </a:cubicBezTo>
                    <a:lnTo>
                      <a:pt x="247269" y="147066"/>
                    </a:lnTo>
                    <a:close/>
                  </a:path>
                </a:pathLst>
              </a:custGeom>
              <a:solidFill>
                <a:srgbClr val="000000"/>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99BDF2E3-1197-3144-4DE1-0422458417C4}"/>
                  </a:ext>
                </a:extLst>
              </p:cNvPr>
              <p:cNvSpPr/>
              <p:nvPr/>
            </p:nvSpPr>
            <p:spPr>
              <a:xfrm>
                <a:off x="21969345" y="2828566"/>
                <a:ext cx="225361" cy="354139"/>
              </a:xfrm>
              <a:custGeom>
                <a:avLst/>
                <a:gdLst>
                  <a:gd name="connsiteX0" fmla="*/ 0 w 225361"/>
                  <a:gd name="connsiteY0" fmla="*/ 5429 h 354139"/>
                  <a:gd name="connsiteX1" fmla="*/ 106204 w 225361"/>
                  <a:gd name="connsiteY1" fmla="*/ 5429 h 354139"/>
                  <a:gd name="connsiteX2" fmla="*/ 106204 w 225361"/>
                  <a:gd name="connsiteY2" fmla="*/ 59912 h 354139"/>
                  <a:gd name="connsiteX3" fmla="*/ 108204 w 225361"/>
                  <a:gd name="connsiteY3" fmla="*/ 59912 h 354139"/>
                  <a:gd name="connsiteX4" fmla="*/ 203549 w 225361"/>
                  <a:gd name="connsiteY4" fmla="*/ 0 h 354139"/>
                  <a:gd name="connsiteX5" fmla="*/ 225362 w 225361"/>
                  <a:gd name="connsiteY5" fmla="*/ 2762 h 354139"/>
                  <a:gd name="connsiteX6" fmla="*/ 225362 w 225361"/>
                  <a:gd name="connsiteY6" fmla="*/ 98107 h 354139"/>
                  <a:gd name="connsiteX7" fmla="*/ 222599 w 225361"/>
                  <a:gd name="connsiteY7" fmla="*/ 98107 h 354139"/>
                  <a:gd name="connsiteX8" fmla="*/ 110966 w 225361"/>
                  <a:gd name="connsiteY8" fmla="*/ 197548 h 354139"/>
                  <a:gd name="connsiteX9" fmla="*/ 110966 w 225361"/>
                  <a:gd name="connsiteY9" fmla="*/ 354139 h 354139"/>
                  <a:gd name="connsiteX10" fmla="*/ 0 w 225361"/>
                  <a:gd name="connsiteY10" fmla="*/ 354139 h 354139"/>
                  <a:gd name="connsiteX11" fmla="*/ 0 w 225361"/>
                  <a:gd name="connsiteY11" fmla="*/ 5525 h 35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361" h="354139">
                    <a:moveTo>
                      <a:pt x="0" y="5429"/>
                    </a:moveTo>
                    <a:lnTo>
                      <a:pt x="106204" y="5429"/>
                    </a:lnTo>
                    <a:lnTo>
                      <a:pt x="106204" y="59912"/>
                    </a:lnTo>
                    <a:lnTo>
                      <a:pt x="108204" y="59912"/>
                    </a:lnTo>
                    <a:cubicBezTo>
                      <a:pt x="132683" y="18383"/>
                      <a:pt x="161354" y="0"/>
                      <a:pt x="203549" y="0"/>
                    </a:cubicBezTo>
                    <a:cubicBezTo>
                      <a:pt x="213741" y="0"/>
                      <a:pt x="220599" y="667"/>
                      <a:pt x="225362" y="2762"/>
                    </a:cubicBezTo>
                    <a:lnTo>
                      <a:pt x="225362" y="98107"/>
                    </a:lnTo>
                    <a:lnTo>
                      <a:pt x="222599" y="98107"/>
                    </a:lnTo>
                    <a:cubicBezTo>
                      <a:pt x="154496" y="88582"/>
                      <a:pt x="110966" y="121920"/>
                      <a:pt x="110966" y="197548"/>
                    </a:cubicBezTo>
                    <a:lnTo>
                      <a:pt x="110966" y="354139"/>
                    </a:lnTo>
                    <a:lnTo>
                      <a:pt x="0" y="354139"/>
                    </a:lnTo>
                    <a:lnTo>
                      <a:pt x="0" y="5525"/>
                    </a:lnTo>
                    <a:close/>
                  </a:path>
                </a:pathLst>
              </a:custGeom>
              <a:solidFill>
                <a:srgbClr val="000000"/>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A5C47AAB-7388-FC47-F8A1-9625C3F94B5F}"/>
                  </a:ext>
                </a:extLst>
              </p:cNvPr>
              <p:cNvSpPr/>
              <p:nvPr/>
            </p:nvSpPr>
            <p:spPr>
              <a:xfrm>
                <a:off x="22168894" y="3068215"/>
                <a:ext cx="116395" cy="114395"/>
              </a:xfrm>
              <a:custGeom>
                <a:avLst/>
                <a:gdLst>
                  <a:gd name="connsiteX0" fmla="*/ 0 w 116395"/>
                  <a:gd name="connsiteY0" fmla="*/ 0 h 114395"/>
                  <a:gd name="connsiteX1" fmla="*/ 116396 w 116395"/>
                  <a:gd name="connsiteY1" fmla="*/ 0 h 114395"/>
                  <a:gd name="connsiteX2" fmla="*/ 116396 w 116395"/>
                  <a:gd name="connsiteY2" fmla="*/ 114395 h 114395"/>
                  <a:gd name="connsiteX3" fmla="*/ 0 w 116395"/>
                  <a:gd name="connsiteY3" fmla="*/ 114395 h 114395"/>
                  <a:gd name="connsiteX4" fmla="*/ 0 w 116395"/>
                  <a:gd name="connsiteY4" fmla="*/ 0 h 11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95" h="114395">
                    <a:moveTo>
                      <a:pt x="0" y="0"/>
                    </a:moveTo>
                    <a:lnTo>
                      <a:pt x="116396" y="0"/>
                    </a:lnTo>
                    <a:lnTo>
                      <a:pt x="116396" y="114395"/>
                    </a:lnTo>
                    <a:lnTo>
                      <a:pt x="0" y="114395"/>
                    </a:lnTo>
                    <a:lnTo>
                      <a:pt x="0" y="0"/>
                    </a:lnTo>
                    <a:close/>
                  </a:path>
                </a:pathLst>
              </a:custGeom>
              <a:solidFill>
                <a:srgbClr val="000000"/>
              </a:solidFill>
              <a:ln w="9525" cap="flat">
                <a:noFill/>
                <a:prstDash val="solid"/>
                <a:miter/>
              </a:ln>
            </p:spPr>
            <p:txBody>
              <a:bodyPr rtlCol="0" anchor="ctr"/>
              <a:lstStyle/>
              <a:p>
                <a:endParaRPr lang="en-AU"/>
              </a:p>
            </p:txBody>
          </p:sp>
        </p:grpSp>
        <p:sp>
          <p:nvSpPr>
            <p:cNvPr id="10" name="Freeform: Shape 9">
              <a:extLst>
                <a:ext uri="{FF2B5EF4-FFF2-40B4-BE49-F238E27FC236}">
                  <a16:creationId xmlns:a16="http://schemas.microsoft.com/office/drawing/2014/main" id="{104C4DC1-EF4C-7B5C-AD13-8DB67AC85C77}"/>
                </a:ext>
              </a:extLst>
            </p:cNvPr>
            <p:cNvSpPr/>
            <p:nvPr/>
          </p:nvSpPr>
          <p:spPr>
            <a:xfrm>
              <a:off x="19704300" y="2824470"/>
              <a:ext cx="373380" cy="373379"/>
            </a:xfrm>
            <a:custGeom>
              <a:avLst/>
              <a:gdLst>
                <a:gd name="connsiteX0" fmla="*/ 373380 w 373380"/>
                <a:gd name="connsiteY0" fmla="*/ 186690 h 373379"/>
                <a:gd name="connsiteX1" fmla="*/ 186690 w 373380"/>
                <a:gd name="connsiteY1" fmla="*/ 373380 h 373379"/>
                <a:gd name="connsiteX2" fmla="*/ 0 w 373380"/>
                <a:gd name="connsiteY2" fmla="*/ 186690 h 373379"/>
                <a:gd name="connsiteX3" fmla="*/ 186690 w 373380"/>
                <a:gd name="connsiteY3" fmla="*/ 0 h 373379"/>
                <a:gd name="connsiteX4" fmla="*/ 373380 w 373380"/>
                <a:gd name="connsiteY4" fmla="*/ 186690 h 373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380" h="373379">
                  <a:moveTo>
                    <a:pt x="373380" y="186690"/>
                  </a:moveTo>
                  <a:cubicBezTo>
                    <a:pt x="373380" y="289750"/>
                    <a:pt x="289846" y="373380"/>
                    <a:pt x="186690" y="373380"/>
                  </a:cubicBezTo>
                  <a:cubicBezTo>
                    <a:pt x="83534" y="373380"/>
                    <a:pt x="0" y="289846"/>
                    <a:pt x="0" y="186690"/>
                  </a:cubicBezTo>
                  <a:cubicBezTo>
                    <a:pt x="0" y="83534"/>
                    <a:pt x="83534" y="0"/>
                    <a:pt x="186690" y="0"/>
                  </a:cubicBezTo>
                  <a:cubicBezTo>
                    <a:pt x="289846" y="0"/>
                    <a:pt x="373380" y="83534"/>
                    <a:pt x="373380" y="186690"/>
                  </a:cubicBezTo>
                </a:path>
              </a:pathLst>
            </a:custGeom>
            <a:solidFill>
              <a:srgbClr val="000000"/>
            </a:solidFill>
            <a:ln w="9525" cap="flat">
              <a:noFill/>
              <a:prstDash val="solid"/>
              <a:miter/>
            </a:ln>
          </p:spPr>
          <p:txBody>
            <a:bodyPr rtlCol="0" anchor="ctr"/>
            <a:lstStyle/>
            <a:p>
              <a:endParaRPr lang="en-AU"/>
            </a:p>
          </p:txBody>
        </p:sp>
        <p:grpSp>
          <p:nvGrpSpPr>
            <p:cNvPr id="11" name="Graphic 48">
              <a:extLst>
                <a:ext uri="{FF2B5EF4-FFF2-40B4-BE49-F238E27FC236}">
                  <a16:creationId xmlns:a16="http://schemas.microsoft.com/office/drawing/2014/main" id="{BB2CA9DB-ECEA-EF17-978E-6F7B6508482E}"/>
                </a:ext>
              </a:extLst>
            </p:cNvPr>
            <p:cNvGrpSpPr/>
            <p:nvPr/>
          </p:nvGrpSpPr>
          <p:grpSpPr>
            <a:xfrm>
              <a:off x="19760592" y="2963916"/>
              <a:ext cx="245650" cy="77057"/>
              <a:chOff x="19760592" y="2963916"/>
              <a:chExt cx="245650" cy="77057"/>
            </a:xfrm>
            <a:solidFill>
              <a:srgbClr val="FFFFFF"/>
            </a:solidFill>
          </p:grpSpPr>
          <p:sp>
            <p:nvSpPr>
              <p:cNvPr id="12" name="Freeform: Shape 11">
                <a:extLst>
                  <a:ext uri="{FF2B5EF4-FFF2-40B4-BE49-F238E27FC236}">
                    <a16:creationId xmlns:a16="http://schemas.microsoft.com/office/drawing/2014/main" id="{73D88253-6297-FA8A-CB6A-DCA32353402A}"/>
                  </a:ext>
                </a:extLst>
              </p:cNvPr>
              <p:cNvSpPr/>
              <p:nvPr/>
            </p:nvSpPr>
            <p:spPr>
              <a:xfrm>
                <a:off x="19760592" y="2983823"/>
                <a:ext cx="54292" cy="57150"/>
              </a:xfrm>
              <a:custGeom>
                <a:avLst/>
                <a:gdLst>
                  <a:gd name="connsiteX0" fmla="*/ 95 w 54292"/>
                  <a:gd name="connsiteY0" fmla="*/ 28575 h 57150"/>
                  <a:gd name="connsiteX1" fmla="*/ 28290 w 54292"/>
                  <a:gd name="connsiteY1" fmla="*/ 0 h 57150"/>
                  <a:gd name="connsiteX2" fmla="*/ 53912 w 54292"/>
                  <a:gd name="connsiteY2" fmla="*/ 20669 h 57150"/>
                  <a:gd name="connsiteX3" fmla="*/ 37338 w 54292"/>
                  <a:gd name="connsiteY3" fmla="*/ 20669 h 57150"/>
                  <a:gd name="connsiteX4" fmla="*/ 28480 w 54292"/>
                  <a:gd name="connsiteY4" fmla="*/ 12668 h 57150"/>
                  <a:gd name="connsiteX5" fmla="*/ 17431 w 54292"/>
                  <a:gd name="connsiteY5" fmla="*/ 28575 h 57150"/>
                  <a:gd name="connsiteX6" fmla="*/ 28480 w 54292"/>
                  <a:gd name="connsiteY6" fmla="*/ 44291 h 57150"/>
                  <a:gd name="connsiteX7" fmla="*/ 37815 w 54292"/>
                  <a:gd name="connsiteY7" fmla="*/ 35052 h 57150"/>
                  <a:gd name="connsiteX8" fmla="*/ 54293 w 54292"/>
                  <a:gd name="connsiteY8" fmla="*/ 35052 h 57150"/>
                  <a:gd name="connsiteX9" fmla="*/ 28670 w 54292"/>
                  <a:gd name="connsiteY9" fmla="*/ 57150 h 57150"/>
                  <a:gd name="connsiteX10" fmla="*/ 0 w 54292"/>
                  <a:gd name="connsiteY10"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292" h="57150">
                    <a:moveTo>
                      <a:pt x="95" y="28575"/>
                    </a:moveTo>
                    <a:cubicBezTo>
                      <a:pt x="95" y="12383"/>
                      <a:pt x="11240" y="0"/>
                      <a:pt x="28290" y="0"/>
                    </a:cubicBezTo>
                    <a:cubicBezTo>
                      <a:pt x="42958" y="0"/>
                      <a:pt x="52293" y="8572"/>
                      <a:pt x="53912" y="20669"/>
                    </a:cubicBezTo>
                    <a:lnTo>
                      <a:pt x="37338" y="20669"/>
                    </a:lnTo>
                    <a:cubicBezTo>
                      <a:pt x="36291" y="15812"/>
                      <a:pt x="33338" y="12668"/>
                      <a:pt x="28480" y="12668"/>
                    </a:cubicBezTo>
                    <a:cubicBezTo>
                      <a:pt x="21146" y="12668"/>
                      <a:pt x="17431" y="18764"/>
                      <a:pt x="17431" y="28575"/>
                    </a:cubicBezTo>
                    <a:cubicBezTo>
                      <a:pt x="17431" y="38386"/>
                      <a:pt x="21146" y="44291"/>
                      <a:pt x="28480" y="44291"/>
                    </a:cubicBezTo>
                    <a:cubicBezTo>
                      <a:pt x="33814" y="44291"/>
                      <a:pt x="37148" y="41148"/>
                      <a:pt x="37815" y="35052"/>
                    </a:cubicBezTo>
                    <a:lnTo>
                      <a:pt x="54293" y="35052"/>
                    </a:lnTo>
                    <a:cubicBezTo>
                      <a:pt x="53912" y="47530"/>
                      <a:pt x="44006" y="57150"/>
                      <a:pt x="28670" y="57150"/>
                    </a:cubicBezTo>
                    <a:cubicBezTo>
                      <a:pt x="11240" y="57150"/>
                      <a:pt x="0" y="44863"/>
                      <a:pt x="0" y="28575"/>
                    </a:cubicBezTo>
                    <a:close/>
                  </a:path>
                </a:pathLst>
              </a:custGeom>
              <a:solidFill>
                <a:srgbClr val="FFFFFF"/>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0C783E20-25DB-8C61-F8BA-E3959663A8A2}"/>
                  </a:ext>
                </a:extLst>
              </p:cNvPr>
              <p:cNvSpPr/>
              <p:nvPr/>
            </p:nvSpPr>
            <p:spPr>
              <a:xfrm>
                <a:off x="19816981" y="2963916"/>
                <a:ext cx="17430" cy="75342"/>
              </a:xfrm>
              <a:custGeom>
                <a:avLst/>
                <a:gdLst>
                  <a:gd name="connsiteX0" fmla="*/ 0 w 17430"/>
                  <a:gd name="connsiteY0" fmla="*/ 0 h 75342"/>
                  <a:gd name="connsiteX1" fmla="*/ 17430 w 17430"/>
                  <a:gd name="connsiteY1" fmla="*/ 0 h 75342"/>
                  <a:gd name="connsiteX2" fmla="*/ 17430 w 17430"/>
                  <a:gd name="connsiteY2" fmla="*/ 75343 h 75342"/>
                  <a:gd name="connsiteX3" fmla="*/ 0 w 17430"/>
                  <a:gd name="connsiteY3" fmla="*/ 75343 h 75342"/>
                  <a:gd name="connsiteX4" fmla="*/ 0 w 17430"/>
                  <a:gd name="connsiteY4" fmla="*/ 0 h 75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0" h="75342">
                    <a:moveTo>
                      <a:pt x="0" y="0"/>
                    </a:moveTo>
                    <a:lnTo>
                      <a:pt x="17430" y="0"/>
                    </a:lnTo>
                    <a:lnTo>
                      <a:pt x="17430" y="75343"/>
                    </a:lnTo>
                    <a:lnTo>
                      <a:pt x="0" y="75343"/>
                    </a:lnTo>
                    <a:lnTo>
                      <a:pt x="0" y="0"/>
                    </a:lnTo>
                    <a:close/>
                  </a:path>
                </a:pathLst>
              </a:custGeom>
              <a:solidFill>
                <a:srgbClr val="FFFFFF"/>
              </a:solidFill>
              <a:ln w="9525"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25946FC2-A6A3-AFC6-73B8-57932DED526B}"/>
                  </a:ext>
                </a:extLst>
              </p:cNvPr>
              <p:cNvSpPr/>
              <p:nvPr/>
            </p:nvSpPr>
            <p:spPr>
              <a:xfrm>
                <a:off x="19836507" y="2983823"/>
                <a:ext cx="57626" cy="57150"/>
              </a:xfrm>
              <a:custGeom>
                <a:avLst/>
                <a:gdLst>
                  <a:gd name="connsiteX0" fmla="*/ 0 w 57626"/>
                  <a:gd name="connsiteY0" fmla="*/ 28575 h 57150"/>
                  <a:gd name="connsiteX1" fmla="*/ 28860 w 57626"/>
                  <a:gd name="connsiteY1" fmla="*/ 0 h 57150"/>
                  <a:gd name="connsiteX2" fmla="*/ 57626 w 57626"/>
                  <a:gd name="connsiteY2" fmla="*/ 28575 h 57150"/>
                  <a:gd name="connsiteX3" fmla="*/ 28860 w 57626"/>
                  <a:gd name="connsiteY3" fmla="*/ 57150 h 57150"/>
                  <a:gd name="connsiteX4" fmla="*/ 0 w 57626"/>
                  <a:gd name="connsiteY4" fmla="*/ 28575 h 57150"/>
                  <a:gd name="connsiteX5" fmla="*/ 40291 w 57626"/>
                  <a:gd name="connsiteY5" fmla="*/ 28575 h 57150"/>
                  <a:gd name="connsiteX6" fmla="*/ 28766 w 57626"/>
                  <a:gd name="connsiteY6" fmla="*/ 12097 h 57150"/>
                  <a:gd name="connsiteX7" fmla="*/ 17336 w 57626"/>
                  <a:gd name="connsiteY7" fmla="*/ 28575 h 57150"/>
                  <a:gd name="connsiteX8" fmla="*/ 28766 w 57626"/>
                  <a:gd name="connsiteY8" fmla="*/ 44863 h 57150"/>
                  <a:gd name="connsiteX9" fmla="*/ 40291 w 57626"/>
                  <a:gd name="connsiteY9"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626" h="57150">
                    <a:moveTo>
                      <a:pt x="0" y="28575"/>
                    </a:moveTo>
                    <a:cubicBezTo>
                      <a:pt x="0" y="12383"/>
                      <a:pt x="11620" y="0"/>
                      <a:pt x="28860" y="0"/>
                    </a:cubicBezTo>
                    <a:cubicBezTo>
                      <a:pt x="46101" y="0"/>
                      <a:pt x="57626" y="12287"/>
                      <a:pt x="57626" y="28575"/>
                    </a:cubicBezTo>
                    <a:cubicBezTo>
                      <a:pt x="57626" y="44863"/>
                      <a:pt x="46196" y="57150"/>
                      <a:pt x="28860" y="57150"/>
                    </a:cubicBezTo>
                    <a:cubicBezTo>
                      <a:pt x="11525" y="57150"/>
                      <a:pt x="0" y="44863"/>
                      <a:pt x="0" y="28575"/>
                    </a:cubicBezTo>
                    <a:close/>
                    <a:moveTo>
                      <a:pt x="40291" y="28575"/>
                    </a:moveTo>
                    <a:cubicBezTo>
                      <a:pt x="40291" y="18764"/>
                      <a:pt x="36290" y="12097"/>
                      <a:pt x="28766" y="12097"/>
                    </a:cubicBezTo>
                    <a:cubicBezTo>
                      <a:pt x="21241" y="12097"/>
                      <a:pt x="17336" y="18764"/>
                      <a:pt x="17336" y="28575"/>
                    </a:cubicBezTo>
                    <a:cubicBezTo>
                      <a:pt x="17336" y="38386"/>
                      <a:pt x="21241" y="44863"/>
                      <a:pt x="28766" y="44863"/>
                    </a:cubicBezTo>
                    <a:cubicBezTo>
                      <a:pt x="36290" y="44863"/>
                      <a:pt x="40291" y="38291"/>
                      <a:pt x="40291" y="28575"/>
                    </a:cubicBezTo>
                    <a:close/>
                  </a:path>
                </a:pathLst>
              </a:custGeom>
              <a:solidFill>
                <a:srgbClr val="FFFFFF"/>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B5E16E1F-A89E-7CA4-017B-159D79391F36}"/>
                  </a:ext>
                </a:extLst>
              </p:cNvPr>
              <p:cNvSpPr/>
              <p:nvPr/>
            </p:nvSpPr>
            <p:spPr>
              <a:xfrm>
                <a:off x="19895752" y="2985347"/>
                <a:ext cx="51816" cy="55435"/>
              </a:xfrm>
              <a:custGeom>
                <a:avLst/>
                <a:gdLst>
                  <a:gd name="connsiteX0" fmla="*/ 0 w 51816"/>
                  <a:gd name="connsiteY0" fmla="*/ 35433 h 55435"/>
                  <a:gd name="connsiteX1" fmla="*/ 0 w 51816"/>
                  <a:gd name="connsiteY1" fmla="*/ 0 h 55435"/>
                  <a:gd name="connsiteX2" fmla="*/ 17050 w 51816"/>
                  <a:gd name="connsiteY2" fmla="*/ 0 h 55435"/>
                  <a:gd name="connsiteX3" fmla="*/ 17050 w 51816"/>
                  <a:gd name="connsiteY3" fmla="*/ 31813 h 55435"/>
                  <a:gd name="connsiteX4" fmla="*/ 25146 w 51816"/>
                  <a:gd name="connsiteY4" fmla="*/ 40958 h 55435"/>
                  <a:gd name="connsiteX5" fmla="*/ 34671 w 51816"/>
                  <a:gd name="connsiteY5" fmla="*/ 30099 h 55435"/>
                  <a:gd name="connsiteX6" fmla="*/ 34671 w 51816"/>
                  <a:gd name="connsiteY6" fmla="*/ 0 h 55435"/>
                  <a:gd name="connsiteX7" fmla="*/ 51816 w 51816"/>
                  <a:gd name="connsiteY7" fmla="*/ 0 h 55435"/>
                  <a:gd name="connsiteX8" fmla="*/ 51816 w 51816"/>
                  <a:gd name="connsiteY8" fmla="*/ 53912 h 55435"/>
                  <a:gd name="connsiteX9" fmla="*/ 35338 w 51816"/>
                  <a:gd name="connsiteY9" fmla="*/ 53912 h 55435"/>
                  <a:gd name="connsiteX10" fmla="*/ 35338 w 51816"/>
                  <a:gd name="connsiteY10" fmla="*/ 47244 h 55435"/>
                  <a:gd name="connsiteX11" fmla="*/ 35053 w 51816"/>
                  <a:gd name="connsiteY11" fmla="*/ 47244 h 55435"/>
                  <a:gd name="connsiteX12" fmla="*/ 18955 w 51816"/>
                  <a:gd name="connsiteY12" fmla="*/ 55436 h 55435"/>
                  <a:gd name="connsiteX13" fmla="*/ 0 w 51816"/>
                  <a:gd name="connsiteY13" fmla="*/ 35338 h 5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16" h="55435">
                    <a:moveTo>
                      <a:pt x="0" y="35433"/>
                    </a:moveTo>
                    <a:lnTo>
                      <a:pt x="0" y="0"/>
                    </a:lnTo>
                    <a:lnTo>
                      <a:pt x="17050" y="0"/>
                    </a:lnTo>
                    <a:lnTo>
                      <a:pt x="17050" y="31813"/>
                    </a:lnTo>
                    <a:cubicBezTo>
                      <a:pt x="17050" y="37719"/>
                      <a:pt x="19717" y="40958"/>
                      <a:pt x="25146" y="40958"/>
                    </a:cubicBezTo>
                    <a:cubicBezTo>
                      <a:pt x="31052" y="40958"/>
                      <a:pt x="34671" y="36576"/>
                      <a:pt x="34671" y="30099"/>
                    </a:cubicBezTo>
                    <a:lnTo>
                      <a:pt x="34671" y="0"/>
                    </a:lnTo>
                    <a:lnTo>
                      <a:pt x="51816" y="0"/>
                    </a:lnTo>
                    <a:lnTo>
                      <a:pt x="51816" y="53912"/>
                    </a:lnTo>
                    <a:lnTo>
                      <a:pt x="35338" y="53912"/>
                    </a:lnTo>
                    <a:lnTo>
                      <a:pt x="35338" y="47244"/>
                    </a:lnTo>
                    <a:lnTo>
                      <a:pt x="35053" y="47244"/>
                    </a:lnTo>
                    <a:cubicBezTo>
                      <a:pt x="31147" y="52483"/>
                      <a:pt x="26384" y="55436"/>
                      <a:pt x="18955" y="55436"/>
                    </a:cubicBezTo>
                    <a:cubicBezTo>
                      <a:pt x="6478" y="55436"/>
                      <a:pt x="0" y="47339"/>
                      <a:pt x="0" y="35338"/>
                    </a:cubicBezTo>
                    <a:close/>
                  </a:path>
                </a:pathLst>
              </a:custGeom>
              <a:solidFill>
                <a:srgbClr val="FFFFFF"/>
              </a:solidFill>
              <a:ln w="9525"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080D8434-B739-A741-82AB-EC90F004B7AF}"/>
                  </a:ext>
                </a:extLst>
              </p:cNvPr>
              <p:cNvSpPr/>
              <p:nvPr/>
            </p:nvSpPr>
            <p:spPr>
              <a:xfrm>
                <a:off x="19950045" y="2963916"/>
                <a:ext cx="56197" cy="77057"/>
              </a:xfrm>
              <a:custGeom>
                <a:avLst/>
                <a:gdLst>
                  <a:gd name="connsiteX0" fmla="*/ 95 w 56197"/>
                  <a:gd name="connsiteY0" fmla="*/ 48387 h 77057"/>
                  <a:gd name="connsiteX1" fmla="*/ 23717 w 56197"/>
                  <a:gd name="connsiteY1" fmla="*/ 19812 h 77057"/>
                  <a:gd name="connsiteX2" fmla="*/ 38767 w 56197"/>
                  <a:gd name="connsiteY2" fmla="*/ 27527 h 77057"/>
                  <a:gd name="connsiteX3" fmla="*/ 39053 w 56197"/>
                  <a:gd name="connsiteY3" fmla="*/ 27527 h 77057"/>
                  <a:gd name="connsiteX4" fmla="*/ 39053 w 56197"/>
                  <a:gd name="connsiteY4" fmla="*/ 0 h 77057"/>
                  <a:gd name="connsiteX5" fmla="*/ 56198 w 56197"/>
                  <a:gd name="connsiteY5" fmla="*/ 0 h 77057"/>
                  <a:gd name="connsiteX6" fmla="*/ 56198 w 56197"/>
                  <a:gd name="connsiteY6" fmla="*/ 75343 h 77057"/>
                  <a:gd name="connsiteX7" fmla="*/ 39720 w 56197"/>
                  <a:gd name="connsiteY7" fmla="*/ 75343 h 77057"/>
                  <a:gd name="connsiteX8" fmla="*/ 39720 w 56197"/>
                  <a:gd name="connsiteY8" fmla="*/ 68104 h 77057"/>
                  <a:gd name="connsiteX9" fmla="*/ 39529 w 56197"/>
                  <a:gd name="connsiteY9" fmla="*/ 68104 h 77057"/>
                  <a:gd name="connsiteX10" fmla="*/ 23622 w 56197"/>
                  <a:gd name="connsiteY10" fmla="*/ 77057 h 77057"/>
                  <a:gd name="connsiteX11" fmla="*/ 0 w 56197"/>
                  <a:gd name="connsiteY11" fmla="*/ 48387 h 77057"/>
                  <a:gd name="connsiteX12" fmla="*/ 39529 w 56197"/>
                  <a:gd name="connsiteY12" fmla="*/ 48387 h 77057"/>
                  <a:gd name="connsiteX13" fmla="*/ 28385 w 56197"/>
                  <a:gd name="connsiteY13" fmla="*/ 32766 h 77057"/>
                  <a:gd name="connsiteX14" fmla="*/ 17526 w 56197"/>
                  <a:gd name="connsiteY14" fmla="*/ 48196 h 77057"/>
                  <a:gd name="connsiteX15" fmla="*/ 28194 w 56197"/>
                  <a:gd name="connsiteY15" fmla="*/ 63437 h 77057"/>
                  <a:gd name="connsiteX16" fmla="*/ 39529 w 56197"/>
                  <a:gd name="connsiteY16" fmla="*/ 48387 h 7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197" h="77057">
                    <a:moveTo>
                      <a:pt x="95" y="48387"/>
                    </a:moveTo>
                    <a:cubicBezTo>
                      <a:pt x="95" y="31528"/>
                      <a:pt x="9811" y="19812"/>
                      <a:pt x="23717" y="19812"/>
                    </a:cubicBezTo>
                    <a:cubicBezTo>
                      <a:pt x="31338" y="19812"/>
                      <a:pt x="35623" y="22955"/>
                      <a:pt x="38767" y="27527"/>
                    </a:cubicBezTo>
                    <a:lnTo>
                      <a:pt x="39053" y="27527"/>
                    </a:lnTo>
                    <a:lnTo>
                      <a:pt x="39053" y="0"/>
                    </a:lnTo>
                    <a:lnTo>
                      <a:pt x="56198" y="0"/>
                    </a:lnTo>
                    <a:lnTo>
                      <a:pt x="56198" y="75343"/>
                    </a:lnTo>
                    <a:lnTo>
                      <a:pt x="39720" y="75343"/>
                    </a:lnTo>
                    <a:lnTo>
                      <a:pt x="39720" y="68104"/>
                    </a:lnTo>
                    <a:lnTo>
                      <a:pt x="39529" y="68104"/>
                    </a:lnTo>
                    <a:cubicBezTo>
                      <a:pt x="36290" y="73723"/>
                      <a:pt x="30671" y="77057"/>
                      <a:pt x="23622" y="77057"/>
                    </a:cubicBezTo>
                    <a:cubicBezTo>
                      <a:pt x="9811" y="77057"/>
                      <a:pt x="0" y="66389"/>
                      <a:pt x="0" y="48387"/>
                    </a:cubicBezTo>
                    <a:close/>
                    <a:moveTo>
                      <a:pt x="39529" y="48387"/>
                    </a:moveTo>
                    <a:cubicBezTo>
                      <a:pt x="39529" y="39338"/>
                      <a:pt x="35814" y="32766"/>
                      <a:pt x="28385" y="32766"/>
                    </a:cubicBezTo>
                    <a:cubicBezTo>
                      <a:pt x="21527" y="32766"/>
                      <a:pt x="17526" y="39053"/>
                      <a:pt x="17526" y="48196"/>
                    </a:cubicBezTo>
                    <a:cubicBezTo>
                      <a:pt x="17526" y="57340"/>
                      <a:pt x="21527" y="63437"/>
                      <a:pt x="28194" y="63437"/>
                    </a:cubicBezTo>
                    <a:cubicBezTo>
                      <a:pt x="35338" y="63437"/>
                      <a:pt x="39529" y="57245"/>
                      <a:pt x="39529" y="48387"/>
                    </a:cubicBezTo>
                    <a:close/>
                  </a:path>
                </a:pathLst>
              </a:custGeom>
              <a:solidFill>
                <a:srgbClr val="FFFFFF"/>
              </a:solidFill>
              <a:ln w="9525" cap="flat">
                <a:noFill/>
                <a:prstDash val="solid"/>
                <a:miter/>
              </a:ln>
            </p:spPr>
            <p:txBody>
              <a:bodyPr rtlCol="0" anchor="ctr"/>
              <a:lstStyle/>
              <a:p>
                <a:endParaRPr lang="en-AU"/>
              </a:p>
            </p:txBody>
          </p:sp>
        </p:grpSp>
      </p:grpSp>
      <p:pic>
        <p:nvPicPr>
          <p:cNvPr id="2" name="Picture 1" descr="A black screen with white text&#10;&#10;Description automatically generated with medium confidence">
            <a:extLst>
              <a:ext uri="{FF2B5EF4-FFF2-40B4-BE49-F238E27FC236}">
                <a16:creationId xmlns:a16="http://schemas.microsoft.com/office/drawing/2014/main" id="{2234BE0D-FAA0-CA81-91C1-B64BECBC576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1099" y="6173769"/>
            <a:ext cx="828938" cy="291536"/>
          </a:xfrm>
          <a:prstGeom prst="rect">
            <a:avLst/>
          </a:prstGeom>
        </p:spPr>
      </p:pic>
      <p:sp>
        <p:nvSpPr>
          <p:cNvPr id="31" name="Footer Placeholder 4">
            <a:extLst>
              <a:ext uri="{FF2B5EF4-FFF2-40B4-BE49-F238E27FC236}">
                <a16:creationId xmlns:a16="http://schemas.microsoft.com/office/drawing/2014/main" id="{6FF3DD6C-2AB4-F7FF-E52B-3059E5DD9A26}"/>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5926182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essaging Divider_one &amp; don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pic>
        <p:nvPicPr>
          <p:cNvPr id="6" name="Graphic 5">
            <a:extLst>
              <a:ext uri="{FF2B5EF4-FFF2-40B4-BE49-F238E27FC236}">
                <a16:creationId xmlns:a16="http://schemas.microsoft.com/office/drawing/2014/main" id="{8D7EA964-A74E-62BD-218B-383EE6D464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57355" y="1813666"/>
            <a:ext cx="6877291" cy="2925869"/>
          </a:xfrm>
          <a:prstGeom prst="rect">
            <a:avLst/>
          </a:prstGeom>
        </p:spPr>
      </p:pic>
      <p:pic>
        <p:nvPicPr>
          <p:cNvPr id="13" name="Graphic 12">
            <a:extLst>
              <a:ext uri="{FF2B5EF4-FFF2-40B4-BE49-F238E27FC236}">
                <a16:creationId xmlns:a16="http://schemas.microsoft.com/office/drawing/2014/main" id="{DF9A1C87-15B3-0E1C-5595-46B4EB5366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57355" y="1813666"/>
            <a:ext cx="6877291" cy="2925869"/>
          </a:xfrm>
          <a:prstGeom prst="rect">
            <a:avLst/>
          </a:prstGeom>
        </p:spPr>
      </p:pic>
      <p:sp>
        <p:nvSpPr>
          <p:cNvPr id="2" name="Footer Placeholder 4">
            <a:extLst>
              <a:ext uri="{FF2B5EF4-FFF2-40B4-BE49-F238E27FC236}">
                <a16:creationId xmlns:a16="http://schemas.microsoft.com/office/drawing/2014/main" id="{BE5A7412-BDB1-2536-3813-84D6CF1B07FB}"/>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83068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essaging Divider_one step ahea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pic>
        <p:nvPicPr>
          <p:cNvPr id="5" name="Graphic 4">
            <a:extLst>
              <a:ext uri="{FF2B5EF4-FFF2-40B4-BE49-F238E27FC236}">
                <a16:creationId xmlns:a16="http://schemas.microsoft.com/office/drawing/2014/main" id="{B6929C49-40F1-D88C-46D4-463EA5E663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6198" y="759125"/>
            <a:ext cx="6423948" cy="4765181"/>
          </a:xfrm>
          <a:prstGeom prst="rect">
            <a:avLst/>
          </a:prstGeom>
        </p:spPr>
      </p:pic>
      <p:sp>
        <p:nvSpPr>
          <p:cNvPr id="2" name="Footer Placeholder 4">
            <a:extLst>
              <a:ext uri="{FF2B5EF4-FFF2-40B4-BE49-F238E27FC236}">
                <a16:creationId xmlns:a16="http://schemas.microsoft.com/office/drawing/2014/main" id="{1F910846-3A6B-9727-AA68-9BB6030F4909}"/>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8984680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essaging Divider_we're on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pic>
        <p:nvPicPr>
          <p:cNvPr id="6" name="Graphic 5">
            <a:extLst>
              <a:ext uri="{FF2B5EF4-FFF2-40B4-BE49-F238E27FC236}">
                <a16:creationId xmlns:a16="http://schemas.microsoft.com/office/drawing/2014/main" id="{4B083BA9-95A5-30C3-830A-FEC8865508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9425" y="2304959"/>
            <a:ext cx="11233150" cy="1943282"/>
          </a:xfrm>
          <a:prstGeom prst="rect">
            <a:avLst/>
          </a:prstGeom>
        </p:spPr>
      </p:pic>
      <p:sp>
        <p:nvSpPr>
          <p:cNvPr id="2" name="Footer Placeholder 4">
            <a:extLst>
              <a:ext uri="{FF2B5EF4-FFF2-40B4-BE49-F238E27FC236}">
                <a16:creationId xmlns:a16="http://schemas.microsoft.com/office/drawing/2014/main" id="{B1AEB1E2-9783-3578-7AEB-997A1D9325EB}"/>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0623325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F8326D0C-4F57-05DE-577E-12D6E4FC59EC}"/>
              </a:ext>
            </a:extLst>
          </p:cNvPr>
          <p:cNvSpPr>
            <a:spLocks noGrp="1"/>
          </p:cNvSpPr>
          <p:nvPr>
            <p:ph type="title" hasCustomPrompt="1"/>
          </p:nvPr>
        </p:nvSpPr>
        <p:spPr>
          <a:xfrm>
            <a:off x="632271" y="913067"/>
            <a:ext cx="4792662" cy="2108517"/>
          </a:xfrm>
        </p:spPr>
        <p:txBody>
          <a:bodyPr/>
          <a:lstStyle>
            <a:lvl1pPr>
              <a:defRPr sz="4800"/>
            </a:lvl1pPr>
          </a:lstStyle>
          <a:p>
            <a:r>
              <a:rPr lang="en-US"/>
              <a:t>Divider Title Goes Here</a:t>
            </a:r>
            <a:endParaRPr lang="en-AU"/>
          </a:p>
        </p:txBody>
      </p:sp>
      <p:sp>
        <p:nvSpPr>
          <p:cNvPr id="8" name="Picture Placeholder 9">
            <a:extLst>
              <a:ext uri="{FF2B5EF4-FFF2-40B4-BE49-F238E27FC236}">
                <a16:creationId xmlns:a16="http://schemas.microsoft.com/office/drawing/2014/main" id="{C292EF45-852B-71C3-DB84-8F2737B18BBB}"/>
              </a:ext>
            </a:extLst>
          </p:cNvPr>
          <p:cNvSpPr>
            <a:spLocks noGrp="1"/>
          </p:cNvSpPr>
          <p:nvPr>
            <p:ph type="pic" sz="quarter" idx="43"/>
          </p:nvPr>
        </p:nvSpPr>
        <p:spPr>
          <a:xfrm>
            <a:off x="5436946" y="608013"/>
            <a:ext cx="5715262" cy="5715262"/>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5" name="Footer Placeholder 4">
            <a:extLst>
              <a:ext uri="{FF2B5EF4-FFF2-40B4-BE49-F238E27FC236}">
                <a16:creationId xmlns:a16="http://schemas.microsoft.com/office/drawing/2014/main" id="{678263BF-69A2-98D0-C809-8AF3568BBA4F}"/>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203272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2">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lvl1pPr>
              <a:defRPr>
                <a:solidFill>
                  <a:schemeClr val="bg1"/>
                </a:solidFill>
              </a:defRPr>
            </a:lvl1p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F8326D0C-4F57-05DE-577E-12D6E4FC59EC}"/>
              </a:ext>
            </a:extLst>
          </p:cNvPr>
          <p:cNvSpPr>
            <a:spLocks noGrp="1"/>
          </p:cNvSpPr>
          <p:nvPr>
            <p:ph type="title" hasCustomPrompt="1"/>
          </p:nvPr>
        </p:nvSpPr>
        <p:spPr>
          <a:xfrm>
            <a:off x="632271" y="913067"/>
            <a:ext cx="4792662" cy="2108517"/>
          </a:xfrm>
        </p:spPr>
        <p:txBody>
          <a:bodyPr/>
          <a:lstStyle>
            <a:lvl1pPr>
              <a:defRPr sz="4800">
                <a:solidFill>
                  <a:schemeClr val="bg1"/>
                </a:solidFill>
              </a:defRPr>
            </a:lvl1pPr>
          </a:lstStyle>
          <a:p>
            <a:r>
              <a:rPr lang="en-US"/>
              <a:t>Divider Title Goes Here</a:t>
            </a:r>
            <a:endParaRPr lang="en-AU"/>
          </a:p>
        </p:txBody>
      </p:sp>
      <p:sp>
        <p:nvSpPr>
          <p:cNvPr id="8" name="Picture Placeholder 9">
            <a:extLst>
              <a:ext uri="{FF2B5EF4-FFF2-40B4-BE49-F238E27FC236}">
                <a16:creationId xmlns:a16="http://schemas.microsoft.com/office/drawing/2014/main" id="{C292EF45-852B-71C3-DB84-8F2737B18BBB}"/>
              </a:ext>
            </a:extLst>
          </p:cNvPr>
          <p:cNvSpPr>
            <a:spLocks noGrp="1"/>
          </p:cNvSpPr>
          <p:nvPr>
            <p:ph type="pic" sz="quarter" idx="43"/>
          </p:nvPr>
        </p:nvSpPr>
        <p:spPr>
          <a:xfrm>
            <a:off x="5436946" y="608013"/>
            <a:ext cx="5715262" cy="5715262"/>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32" name="Rectangle 31">
            <a:extLst>
              <a:ext uri="{FF2B5EF4-FFF2-40B4-BE49-F238E27FC236}">
                <a16:creationId xmlns:a16="http://schemas.microsoft.com/office/drawing/2014/main" id="{D572BF2B-3305-1E92-2392-7F241E77CC5A}"/>
              </a:ext>
            </a:extLst>
          </p:cNvPr>
          <p:cNvSpPr/>
          <p:nvPr userDrawn="1"/>
        </p:nvSpPr>
        <p:spPr>
          <a:xfrm>
            <a:off x="0" y="0"/>
            <a:ext cx="12192000" cy="13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6" name="Picture 15">
            <a:extLst>
              <a:ext uri="{FF2B5EF4-FFF2-40B4-BE49-F238E27FC236}">
                <a16:creationId xmlns:a16="http://schemas.microsoft.com/office/drawing/2014/main" id="{2979B1A7-CEBF-A3DD-1A3A-BB840CF851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901099" y="6173769"/>
            <a:ext cx="828938" cy="291535"/>
          </a:xfrm>
          <a:prstGeom prst="rect">
            <a:avLst/>
          </a:prstGeom>
        </p:spPr>
      </p:pic>
      <p:sp>
        <p:nvSpPr>
          <p:cNvPr id="5" name="Footer Placeholder 4">
            <a:extLst>
              <a:ext uri="{FF2B5EF4-FFF2-40B4-BE49-F238E27FC236}">
                <a16:creationId xmlns:a16="http://schemas.microsoft.com/office/drawing/2014/main" id="{990C85B7-B99F-A33B-5A41-C3D408237EBF}"/>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11409718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7E1A8EA-2C3A-A51E-C804-3ABD34365DBF}"/>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lvl1pPr>
              <a:defRPr>
                <a:solidFill>
                  <a:schemeClr val="bg1"/>
                </a:solidFill>
              </a:defRPr>
            </a:lvl1p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F8326D0C-4F57-05DE-577E-12D6E4FC59EC}"/>
              </a:ext>
            </a:extLst>
          </p:cNvPr>
          <p:cNvSpPr>
            <a:spLocks noGrp="1"/>
          </p:cNvSpPr>
          <p:nvPr>
            <p:ph type="title" hasCustomPrompt="1"/>
          </p:nvPr>
        </p:nvSpPr>
        <p:spPr>
          <a:xfrm>
            <a:off x="632271" y="913067"/>
            <a:ext cx="4792662" cy="2108517"/>
          </a:xfrm>
        </p:spPr>
        <p:txBody>
          <a:bodyPr/>
          <a:lstStyle>
            <a:lvl1pPr>
              <a:defRPr sz="4800">
                <a:solidFill>
                  <a:schemeClr val="bg1"/>
                </a:solidFill>
              </a:defRPr>
            </a:lvl1pPr>
          </a:lstStyle>
          <a:p>
            <a:r>
              <a:rPr lang="en-US"/>
              <a:t>Divider Title Goes Here</a:t>
            </a:r>
            <a:endParaRPr lang="en-AU"/>
          </a:p>
        </p:txBody>
      </p:sp>
      <p:sp>
        <p:nvSpPr>
          <p:cNvPr id="5" name="Text Placeholder 5">
            <a:extLst>
              <a:ext uri="{FF2B5EF4-FFF2-40B4-BE49-F238E27FC236}">
                <a16:creationId xmlns:a16="http://schemas.microsoft.com/office/drawing/2014/main" id="{9D6DB937-D5CB-6D67-544F-6980BD476731}"/>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Footer Placeholder 4">
            <a:extLst>
              <a:ext uri="{FF2B5EF4-FFF2-40B4-BE49-F238E27FC236}">
                <a16:creationId xmlns:a16="http://schemas.microsoft.com/office/drawing/2014/main" id="{13AA11D2-13DB-85DA-5E79-14B6F0D02E2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170721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2_option 1">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BD2EDFAA-2522-98E6-1241-0F42A0BC0104}"/>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209806"/>
            <a:ext cx="12192000" cy="6648194"/>
          </a:xfrm>
          <a:prstGeom prst="rect">
            <a:avLst/>
          </a:prstGeom>
        </p:spPr>
      </p:pic>
      <p:pic>
        <p:nvPicPr>
          <p:cNvPr id="5" name="Picture 4" descr="Background pattern&#10;&#10;Description automatically generated">
            <a:extLst>
              <a:ext uri="{FF2B5EF4-FFF2-40B4-BE49-F238E27FC236}">
                <a16:creationId xmlns:a16="http://schemas.microsoft.com/office/drawing/2014/main" id="{4F0D6D77-4B68-8C2E-8EE1-25FDB9238F87}"/>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0" y="209806"/>
            <a:ext cx="12192000" cy="6648194"/>
          </a:xfrm>
          <a:prstGeom prst="rect">
            <a:avLst/>
          </a:prstGeom>
        </p:spPr>
      </p:pic>
      <p:sp>
        <p:nvSpPr>
          <p:cNvPr id="24" name="Freeform: Shape 23">
            <a:extLst>
              <a:ext uri="{FF2B5EF4-FFF2-40B4-BE49-F238E27FC236}">
                <a16:creationId xmlns:a16="http://schemas.microsoft.com/office/drawing/2014/main" id="{CCC884B3-493D-AEE2-AADB-7BCD40BEBBB8}"/>
              </a:ext>
            </a:extLst>
          </p:cNvPr>
          <p:cNvSpPr/>
          <p:nvPr userDrawn="1"/>
        </p:nvSpPr>
        <p:spPr>
          <a:xfrm flipV="1">
            <a:off x="0" y="136799"/>
            <a:ext cx="12192000" cy="6721201"/>
          </a:xfrm>
          <a:custGeom>
            <a:avLst/>
            <a:gdLst>
              <a:gd name="connsiteX0" fmla="*/ 6620424 w 12192000"/>
              <a:gd name="connsiteY0" fmla="*/ 5049367 h 6721201"/>
              <a:gd name="connsiteX1" fmla="*/ 5489443 w 12192000"/>
              <a:gd name="connsiteY1" fmla="*/ 4440839 h 6721201"/>
              <a:gd name="connsiteX2" fmla="*/ 5468020 w 12192000"/>
              <a:gd name="connsiteY2" fmla="*/ 4440839 h 6721201"/>
              <a:gd name="connsiteX3" fmla="*/ 5468020 w 12192000"/>
              <a:gd name="connsiteY3" fmla="*/ 4941995 h 6721201"/>
              <a:gd name="connsiteX4" fmla="*/ 4370578 w 12192000"/>
              <a:gd name="connsiteY4" fmla="*/ 4941995 h 6721201"/>
              <a:gd name="connsiteX5" fmla="*/ 4370578 w 12192000"/>
              <a:gd name="connsiteY5" fmla="*/ 3432788 h 6721201"/>
              <a:gd name="connsiteX6" fmla="*/ 2470010 w 12192000"/>
              <a:gd name="connsiteY6" fmla="*/ 5047709 h 6721201"/>
              <a:gd name="connsiteX7" fmla="*/ 544194 w 12192000"/>
              <a:gd name="connsiteY7" fmla="*/ 3121893 h 6721201"/>
              <a:gd name="connsiteX8" fmla="*/ 2470010 w 12192000"/>
              <a:gd name="connsiteY8" fmla="*/ 1196077 h 6721201"/>
              <a:gd name="connsiteX9" fmla="*/ 4370450 w 12192000"/>
              <a:gd name="connsiteY9" fmla="*/ 2810998 h 6721201"/>
              <a:gd name="connsiteX10" fmla="*/ 4370450 w 12192000"/>
              <a:gd name="connsiteY10" fmla="*/ 1310590 h 6721201"/>
              <a:gd name="connsiteX11" fmla="*/ 5493779 w 12192000"/>
              <a:gd name="connsiteY11" fmla="*/ 1310590 h 6721201"/>
              <a:gd name="connsiteX12" fmla="*/ 5493779 w 12192000"/>
              <a:gd name="connsiteY12" fmla="*/ 3319550 h 6721201"/>
              <a:gd name="connsiteX13" fmla="*/ 6155101 w 12192000"/>
              <a:gd name="connsiteY13" fmla="*/ 4109668 h 6721201"/>
              <a:gd name="connsiteX14" fmla="*/ 6744756 w 12192000"/>
              <a:gd name="connsiteY14" fmla="*/ 3441205 h 6721201"/>
              <a:gd name="connsiteX15" fmla="*/ 6744756 w 12192000"/>
              <a:gd name="connsiteY15" fmla="*/ 1310463 h 6721201"/>
              <a:gd name="connsiteX16" fmla="*/ 7868086 w 12192000"/>
              <a:gd name="connsiteY16" fmla="*/ 1310463 h 6721201"/>
              <a:gd name="connsiteX17" fmla="*/ 7868086 w 12192000"/>
              <a:gd name="connsiteY17" fmla="*/ 2785111 h 6721201"/>
              <a:gd name="connsiteX18" fmla="*/ 9780002 w 12192000"/>
              <a:gd name="connsiteY18" fmla="*/ 1203091 h 6721201"/>
              <a:gd name="connsiteX19" fmla="*/ 10915701 w 12192000"/>
              <a:gd name="connsiteY19" fmla="*/ 1536557 h 6721201"/>
              <a:gd name="connsiteX20" fmla="*/ 11519383 w 12192000"/>
              <a:gd name="connsiteY20" fmla="*/ 2371944 h 6721201"/>
              <a:gd name="connsiteX21" fmla="*/ 10413780 w 12192000"/>
              <a:gd name="connsiteY21" fmla="*/ 2371944 h 6721201"/>
              <a:gd name="connsiteX22" fmla="*/ 9901597 w 12192000"/>
              <a:gd name="connsiteY22" fmla="*/ 2012739 h 6721201"/>
              <a:gd name="connsiteX23" fmla="*/ 9794360 w 12192000"/>
              <a:gd name="connsiteY23" fmla="*/ 2006857 h 6721201"/>
              <a:gd name="connsiteX24" fmla="*/ 9627807 w 12192000"/>
              <a:gd name="connsiteY24" fmla="*/ 2020341 h 6721201"/>
              <a:gd name="connsiteX25" fmla="*/ 8954434 w 12192000"/>
              <a:gd name="connsiteY25" fmla="*/ 2823112 h 6721201"/>
              <a:gd name="connsiteX26" fmla="*/ 8951628 w 12192000"/>
              <a:gd name="connsiteY26" fmla="*/ 2842495 h 6721201"/>
              <a:gd name="connsiteX27" fmla="*/ 11588754 w 12192000"/>
              <a:gd name="connsiteY27" fmla="*/ 2842495 h 6721201"/>
              <a:gd name="connsiteX28" fmla="*/ 10949876 w 12192000"/>
              <a:gd name="connsiteY28" fmla="*/ 4595649 h 6721201"/>
              <a:gd name="connsiteX29" fmla="*/ 9708463 w 12192000"/>
              <a:gd name="connsiteY29" fmla="*/ 5049367 h 6721201"/>
              <a:gd name="connsiteX30" fmla="*/ 7868086 w 12192000"/>
              <a:gd name="connsiteY30" fmla="*/ 3469514 h 6721201"/>
              <a:gd name="connsiteX31" fmla="*/ 7868086 w 12192000"/>
              <a:gd name="connsiteY31" fmla="*/ 3677500 h 6721201"/>
              <a:gd name="connsiteX32" fmla="*/ 6620424 w 12192000"/>
              <a:gd name="connsiteY32" fmla="*/ 5049367 h 6721201"/>
              <a:gd name="connsiteX33" fmla="*/ 0 w 12192000"/>
              <a:gd name="connsiteY33" fmla="*/ 6721201 h 6721201"/>
              <a:gd name="connsiteX34" fmla="*/ 12192000 w 12192000"/>
              <a:gd name="connsiteY34" fmla="*/ 6721201 h 6721201"/>
              <a:gd name="connsiteX35" fmla="*/ 12192000 w 12192000"/>
              <a:gd name="connsiteY35" fmla="*/ 6665760 h 6721201"/>
              <a:gd name="connsiteX36" fmla="*/ 12192000 w 12192000"/>
              <a:gd name="connsiteY36" fmla="*/ 6405240 h 6721201"/>
              <a:gd name="connsiteX37" fmla="*/ 12192000 w 12192000"/>
              <a:gd name="connsiteY37" fmla="*/ 0 h 6721201"/>
              <a:gd name="connsiteX38" fmla="*/ 0 w 12192000"/>
              <a:gd name="connsiteY38" fmla="*/ 0 h 6721201"/>
              <a:gd name="connsiteX39" fmla="*/ 0 w 12192000"/>
              <a:gd name="connsiteY39" fmla="*/ 6405240 h 6721201"/>
              <a:gd name="connsiteX40" fmla="*/ 0 w 12192000"/>
              <a:gd name="connsiteY40" fmla="*/ 6665760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92000" h="6721201">
                <a:moveTo>
                  <a:pt x="6620424" y="5049367"/>
                </a:moveTo>
                <a:cubicBezTo>
                  <a:pt x="6112127" y="5049367"/>
                  <a:pt x="5761445" y="4834622"/>
                  <a:pt x="5489443" y="4440839"/>
                </a:cubicBezTo>
                <a:lnTo>
                  <a:pt x="5468020" y="4440839"/>
                </a:lnTo>
                <a:lnTo>
                  <a:pt x="5468020" y="4941995"/>
                </a:lnTo>
                <a:lnTo>
                  <a:pt x="4370578" y="4941995"/>
                </a:lnTo>
                <a:lnTo>
                  <a:pt x="4370578" y="3432788"/>
                </a:lnTo>
                <a:cubicBezTo>
                  <a:pt x="4221378" y="4347366"/>
                  <a:pt x="3426160" y="5047709"/>
                  <a:pt x="2470010" y="5047709"/>
                </a:cubicBezTo>
                <a:cubicBezTo>
                  <a:pt x="1408146" y="5047709"/>
                  <a:pt x="544194" y="4183885"/>
                  <a:pt x="544194" y="3121893"/>
                </a:cubicBezTo>
                <a:cubicBezTo>
                  <a:pt x="544194" y="2059902"/>
                  <a:pt x="1408146" y="1196077"/>
                  <a:pt x="2470010" y="1196077"/>
                </a:cubicBezTo>
                <a:cubicBezTo>
                  <a:pt x="3426033" y="1196077"/>
                  <a:pt x="4221251" y="1896420"/>
                  <a:pt x="4370450" y="2810998"/>
                </a:cubicBezTo>
                <a:lnTo>
                  <a:pt x="4370450" y="1310590"/>
                </a:lnTo>
                <a:lnTo>
                  <a:pt x="5493779" y="1310590"/>
                </a:lnTo>
                <a:lnTo>
                  <a:pt x="5493779" y="3319550"/>
                </a:lnTo>
                <a:cubicBezTo>
                  <a:pt x="5493779" y="3784745"/>
                  <a:pt x="5765653" y="4109668"/>
                  <a:pt x="6155101" y="4109668"/>
                </a:cubicBezTo>
                <a:cubicBezTo>
                  <a:pt x="6524274" y="4109668"/>
                  <a:pt x="6744756" y="3859727"/>
                  <a:pt x="6744756" y="3441205"/>
                </a:cubicBezTo>
                <a:lnTo>
                  <a:pt x="6744756" y="1310463"/>
                </a:lnTo>
                <a:lnTo>
                  <a:pt x="7868086" y="1310463"/>
                </a:lnTo>
                <a:lnTo>
                  <a:pt x="7868086" y="2785111"/>
                </a:lnTo>
                <a:cubicBezTo>
                  <a:pt x="8009633" y="1825646"/>
                  <a:pt x="8742112" y="1203091"/>
                  <a:pt x="9780002" y="1203091"/>
                </a:cubicBezTo>
                <a:cubicBezTo>
                  <a:pt x="10222626" y="1203091"/>
                  <a:pt x="10594221" y="1312121"/>
                  <a:pt x="10915701" y="1536557"/>
                </a:cubicBezTo>
                <a:cubicBezTo>
                  <a:pt x="11221367" y="1747094"/>
                  <a:pt x="11434964" y="2042941"/>
                  <a:pt x="11519383" y="2371944"/>
                </a:cubicBezTo>
                <a:lnTo>
                  <a:pt x="10413780" y="2371944"/>
                </a:lnTo>
                <a:cubicBezTo>
                  <a:pt x="10318489" y="2162842"/>
                  <a:pt x="10142750" y="2040146"/>
                  <a:pt x="9901597" y="2012739"/>
                </a:cubicBezTo>
                <a:lnTo>
                  <a:pt x="9794360" y="2006857"/>
                </a:lnTo>
                <a:lnTo>
                  <a:pt x="9627807" y="2020341"/>
                </a:lnTo>
                <a:cubicBezTo>
                  <a:pt x="9257835" y="2083040"/>
                  <a:pt x="9021047" y="2362619"/>
                  <a:pt x="8954434" y="2823112"/>
                </a:cubicBezTo>
                <a:lnTo>
                  <a:pt x="8951628" y="2842495"/>
                </a:lnTo>
                <a:lnTo>
                  <a:pt x="11588754" y="2842495"/>
                </a:lnTo>
                <a:cubicBezTo>
                  <a:pt x="11592580" y="3591551"/>
                  <a:pt x="11365976" y="4213597"/>
                  <a:pt x="10949876" y="4595649"/>
                </a:cubicBezTo>
                <a:cubicBezTo>
                  <a:pt x="10618705" y="4896725"/>
                  <a:pt x="10200948" y="5049367"/>
                  <a:pt x="9708463" y="5049367"/>
                </a:cubicBezTo>
                <a:cubicBezTo>
                  <a:pt x="8739944" y="5049367"/>
                  <a:pt x="8009761" y="4402455"/>
                  <a:pt x="7868086" y="3469514"/>
                </a:cubicBezTo>
                <a:lnTo>
                  <a:pt x="7868086" y="3677500"/>
                </a:lnTo>
                <a:cubicBezTo>
                  <a:pt x="7868086" y="4510847"/>
                  <a:pt x="7384145" y="5049367"/>
                  <a:pt x="6620424" y="5049367"/>
                </a:cubicBezTo>
                <a:close/>
                <a:moveTo>
                  <a:pt x="0" y="6721201"/>
                </a:moveTo>
                <a:lnTo>
                  <a:pt x="12192000" y="6721201"/>
                </a:lnTo>
                <a:lnTo>
                  <a:pt x="12192000" y="6665760"/>
                </a:lnTo>
                <a:lnTo>
                  <a:pt x="12192000" y="6405240"/>
                </a:lnTo>
                <a:lnTo>
                  <a:pt x="12192000" y="0"/>
                </a:lnTo>
                <a:lnTo>
                  <a:pt x="0" y="0"/>
                </a:lnTo>
                <a:lnTo>
                  <a:pt x="0" y="6405240"/>
                </a:lnTo>
                <a:lnTo>
                  <a:pt x="0" y="66657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7" name="Title 1">
            <a:extLst>
              <a:ext uri="{FF2B5EF4-FFF2-40B4-BE49-F238E27FC236}">
                <a16:creationId xmlns:a16="http://schemas.microsoft.com/office/drawing/2014/main" id="{2FBA026A-6334-51DE-D052-1F80C1D94592}"/>
              </a:ext>
            </a:extLst>
          </p:cNvPr>
          <p:cNvSpPr>
            <a:spLocks noGrp="1"/>
          </p:cNvSpPr>
          <p:nvPr>
            <p:ph type="ctrTitle" hasCustomPrompt="1"/>
          </p:nvPr>
        </p:nvSpPr>
        <p:spPr>
          <a:xfrm>
            <a:off x="744122" y="853544"/>
            <a:ext cx="10842844" cy="589626"/>
          </a:xfrm>
        </p:spPr>
        <p:txBody>
          <a:bodyPr anchor="t" anchorCtr="0"/>
          <a:lstStyle>
            <a:lvl1pPr algn="l">
              <a:defRPr sz="3000">
                <a:solidFill>
                  <a:schemeClr val="bg1"/>
                </a:solidFill>
              </a:defRPr>
            </a:lvl1pPr>
          </a:lstStyle>
          <a:p>
            <a:r>
              <a:rPr lang="en-US"/>
              <a:t>Your text here</a:t>
            </a:r>
            <a:endParaRPr lang="en-AU"/>
          </a:p>
        </p:txBody>
      </p:sp>
      <p:sp>
        <p:nvSpPr>
          <p:cNvPr id="9" name="Subtitle 2">
            <a:extLst>
              <a:ext uri="{FF2B5EF4-FFF2-40B4-BE49-F238E27FC236}">
                <a16:creationId xmlns:a16="http://schemas.microsoft.com/office/drawing/2014/main" id="{E5C70050-EA31-7E7D-312E-03A5010B8F03}"/>
              </a:ext>
            </a:extLst>
          </p:cNvPr>
          <p:cNvSpPr>
            <a:spLocks noGrp="1"/>
          </p:cNvSpPr>
          <p:nvPr>
            <p:ph type="subTitle" idx="1" hasCustomPrompt="1"/>
          </p:nvPr>
        </p:nvSpPr>
        <p:spPr>
          <a:xfrm>
            <a:off x="744122" y="6147435"/>
            <a:ext cx="8620506" cy="371892"/>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20" name="Freeform: Shape 19">
            <a:extLst>
              <a:ext uri="{FF2B5EF4-FFF2-40B4-BE49-F238E27FC236}">
                <a16:creationId xmlns:a16="http://schemas.microsoft.com/office/drawing/2014/main" id="{2F45A825-BB18-2236-B74E-7CACAEEDC588}"/>
              </a:ext>
            </a:extLst>
          </p:cNvPr>
          <p:cNvSpPr/>
          <p:nvPr/>
        </p:nvSpPr>
        <p:spPr>
          <a:xfrm>
            <a:off x="8964890" y="2605128"/>
            <a:ext cx="1474138" cy="714243"/>
          </a:xfrm>
          <a:custGeom>
            <a:avLst/>
            <a:gdLst>
              <a:gd name="connsiteX0" fmla="*/ 765124 w 1474138"/>
              <a:gd name="connsiteY0" fmla="*/ 0 h 714243"/>
              <a:gd name="connsiteX1" fmla="*/ 1474138 w 1474138"/>
              <a:gd name="connsiteY1" fmla="*/ 714243 h 714243"/>
              <a:gd name="connsiteX2" fmla="*/ 0 w 1474138"/>
              <a:gd name="connsiteY2" fmla="*/ 714243 h 714243"/>
              <a:gd name="connsiteX3" fmla="*/ 765124 w 1474138"/>
              <a:gd name="connsiteY3" fmla="*/ 0 h 714243"/>
            </a:gdLst>
            <a:ahLst/>
            <a:cxnLst>
              <a:cxn ang="0">
                <a:pos x="connsiteX0" y="connsiteY0"/>
              </a:cxn>
              <a:cxn ang="0">
                <a:pos x="connsiteX1" y="connsiteY1"/>
              </a:cxn>
              <a:cxn ang="0">
                <a:pos x="connsiteX2" y="connsiteY2"/>
              </a:cxn>
              <a:cxn ang="0">
                <a:pos x="connsiteX3" y="connsiteY3"/>
              </a:cxn>
            </a:cxnLst>
            <a:rect l="l" t="t" r="r" b="b"/>
            <a:pathLst>
              <a:path w="1474138" h="714243">
                <a:moveTo>
                  <a:pt x="765124" y="0"/>
                </a:moveTo>
                <a:cubicBezTo>
                  <a:pt x="1148451" y="0"/>
                  <a:pt x="1424916" y="279907"/>
                  <a:pt x="1474138" y="714243"/>
                </a:cubicBezTo>
                <a:lnTo>
                  <a:pt x="0" y="714243"/>
                </a:lnTo>
                <a:cubicBezTo>
                  <a:pt x="90030" y="240504"/>
                  <a:pt x="347239" y="0"/>
                  <a:pt x="765124" y="0"/>
                </a:cubicBezTo>
                <a:close/>
              </a:path>
            </a:pathLst>
          </a:custGeom>
          <a:solidFill>
            <a:schemeClr val="tx1"/>
          </a:solidFill>
          <a:ln w="12748" cap="flat">
            <a:noFill/>
            <a:prstDash val="solid"/>
            <a:miter/>
          </a:ln>
        </p:spPr>
        <p:txBody>
          <a:bodyPr rtlCol="0" anchor="ctr"/>
          <a:lstStyle/>
          <a:p>
            <a:endParaRPr lang="en-AU"/>
          </a:p>
        </p:txBody>
      </p:sp>
      <p:grpSp>
        <p:nvGrpSpPr>
          <p:cNvPr id="23" name="Group 22">
            <a:extLst>
              <a:ext uri="{FF2B5EF4-FFF2-40B4-BE49-F238E27FC236}">
                <a16:creationId xmlns:a16="http://schemas.microsoft.com/office/drawing/2014/main" id="{D837255F-1460-77DD-279B-5D53D1DB3A44}"/>
              </a:ext>
            </a:extLst>
          </p:cNvPr>
          <p:cNvGrpSpPr/>
          <p:nvPr/>
        </p:nvGrpSpPr>
        <p:grpSpPr>
          <a:xfrm>
            <a:off x="704232" y="3288479"/>
            <a:ext cx="3541142" cy="690192"/>
            <a:chOff x="704232" y="3288479"/>
            <a:chExt cx="3541142" cy="690192"/>
          </a:xfrm>
        </p:grpSpPr>
        <p:sp>
          <p:nvSpPr>
            <p:cNvPr id="13" name="Freeform: Shape 12">
              <a:extLst>
                <a:ext uri="{FF2B5EF4-FFF2-40B4-BE49-F238E27FC236}">
                  <a16:creationId xmlns:a16="http://schemas.microsoft.com/office/drawing/2014/main" id="{C3612BA1-8F7B-F863-C78A-2C795F47266D}"/>
                </a:ext>
              </a:extLst>
            </p:cNvPr>
            <p:cNvSpPr/>
            <p:nvPr/>
          </p:nvSpPr>
          <p:spPr>
            <a:xfrm>
              <a:off x="704232" y="3467314"/>
              <a:ext cx="448745" cy="511357"/>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chemeClr val="tx1"/>
            </a:solidFill>
            <a:ln w="12748"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85D78EFA-5862-9013-223D-4F881CF4AB34}"/>
                </a:ext>
              </a:extLst>
            </p:cNvPr>
            <p:cNvSpPr/>
            <p:nvPr/>
          </p:nvSpPr>
          <p:spPr>
            <a:xfrm>
              <a:off x="1164964" y="3467186"/>
              <a:ext cx="509572" cy="511357"/>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chemeClr val="tx1"/>
            </a:solidFill>
            <a:ln w="12748"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1E5D71D8-400F-1D5B-A7C0-F573281B82DC}"/>
                </a:ext>
              </a:extLst>
            </p:cNvPr>
            <p:cNvSpPr/>
            <p:nvPr/>
          </p:nvSpPr>
          <p:spPr>
            <a:xfrm>
              <a:off x="1657193" y="3288479"/>
              <a:ext cx="1320093" cy="68011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chemeClr val="tx1"/>
            </a:solidFill>
            <a:ln w="12748"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4BC53781-7D3E-63B0-2AD0-3800F75B1A8A}"/>
                </a:ext>
              </a:extLst>
            </p:cNvPr>
            <p:cNvSpPr/>
            <p:nvPr/>
          </p:nvSpPr>
          <p:spPr>
            <a:xfrm>
              <a:off x="2945534" y="3467059"/>
              <a:ext cx="473101" cy="508679"/>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chemeClr val="tx1"/>
            </a:solidFill>
            <a:ln w="12748"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6B3999E8-2A3B-0D08-8676-DF2090C1C50B}"/>
                </a:ext>
              </a:extLst>
            </p:cNvPr>
            <p:cNvSpPr/>
            <p:nvPr/>
          </p:nvSpPr>
          <p:spPr>
            <a:xfrm>
              <a:off x="3454341" y="3472670"/>
              <a:ext cx="303753" cy="490571"/>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chemeClr val="tx1"/>
            </a:solidFill>
            <a:ln w="12748"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41938455-FF43-439D-6E93-AF40252CEDEC}"/>
                </a:ext>
              </a:extLst>
            </p:cNvPr>
            <p:cNvSpPr/>
            <p:nvPr/>
          </p:nvSpPr>
          <p:spPr>
            <a:xfrm>
              <a:off x="3753887" y="3467186"/>
              <a:ext cx="491487" cy="510464"/>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chemeClr val="tx1"/>
            </a:solidFill>
            <a:ln w="12748" cap="flat">
              <a:noFill/>
              <a:prstDash val="solid"/>
              <a:miter/>
            </a:ln>
          </p:spPr>
          <p:txBody>
            <a:bodyPr rtlCol="0" anchor="ctr"/>
            <a:lstStyle/>
            <a:p>
              <a:endParaRPr lang="en-AU"/>
            </a:p>
          </p:txBody>
        </p:sp>
      </p:grpSp>
      <p:grpSp>
        <p:nvGrpSpPr>
          <p:cNvPr id="3" name="Group 2">
            <a:extLst>
              <a:ext uri="{FF2B5EF4-FFF2-40B4-BE49-F238E27FC236}">
                <a16:creationId xmlns:a16="http://schemas.microsoft.com/office/drawing/2014/main" id="{348B53E9-ABFB-5328-800A-44E81AB87E03}"/>
              </a:ext>
            </a:extLst>
          </p:cNvPr>
          <p:cNvGrpSpPr/>
          <p:nvPr userDrawn="1"/>
        </p:nvGrpSpPr>
        <p:grpSpPr>
          <a:xfrm>
            <a:off x="704232" y="3288479"/>
            <a:ext cx="3541142" cy="690192"/>
            <a:chOff x="704232" y="3288479"/>
            <a:chExt cx="3541142" cy="690192"/>
          </a:xfrm>
        </p:grpSpPr>
        <p:sp>
          <p:nvSpPr>
            <p:cNvPr id="4" name="Freeform: Shape 3">
              <a:extLst>
                <a:ext uri="{FF2B5EF4-FFF2-40B4-BE49-F238E27FC236}">
                  <a16:creationId xmlns:a16="http://schemas.microsoft.com/office/drawing/2014/main" id="{67AB98CB-7B5C-6E3D-4FE5-F8377A4CEB3C}"/>
                </a:ext>
              </a:extLst>
            </p:cNvPr>
            <p:cNvSpPr/>
            <p:nvPr/>
          </p:nvSpPr>
          <p:spPr>
            <a:xfrm>
              <a:off x="704232" y="3467314"/>
              <a:ext cx="448745" cy="511357"/>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chemeClr val="tx1"/>
            </a:solidFill>
            <a:ln w="12748"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10FAD991-943E-58B4-809C-CE0F7903D75F}"/>
                </a:ext>
              </a:extLst>
            </p:cNvPr>
            <p:cNvSpPr/>
            <p:nvPr/>
          </p:nvSpPr>
          <p:spPr>
            <a:xfrm>
              <a:off x="1164964" y="3467186"/>
              <a:ext cx="509572" cy="511357"/>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chemeClr val="tx1"/>
            </a:solidFill>
            <a:ln w="12748"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59F7F418-CFBA-0364-3275-D608013437BB}"/>
                </a:ext>
              </a:extLst>
            </p:cNvPr>
            <p:cNvSpPr/>
            <p:nvPr/>
          </p:nvSpPr>
          <p:spPr>
            <a:xfrm>
              <a:off x="1657193" y="3288479"/>
              <a:ext cx="1320093" cy="68011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chemeClr val="tx1"/>
            </a:solidFill>
            <a:ln w="12748"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6D79E43A-8E77-6492-C685-EE3CC319DA94}"/>
                </a:ext>
              </a:extLst>
            </p:cNvPr>
            <p:cNvSpPr/>
            <p:nvPr/>
          </p:nvSpPr>
          <p:spPr>
            <a:xfrm>
              <a:off x="2945534" y="3467059"/>
              <a:ext cx="473101" cy="508679"/>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chemeClr val="tx1"/>
            </a:solidFill>
            <a:ln w="12748"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5F6852AA-B17B-7EDF-EADC-101B07B93F9E}"/>
                </a:ext>
              </a:extLst>
            </p:cNvPr>
            <p:cNvSpPr/>
            <p:nvPr/>
          </p:nvSpPr>
          <p:spPr>
            <a:xfrm>
              <a:off x="3454341" y="3472670"/>
              <a:ext cx="303753" cy="490571"/>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chemeClr val="tx1"/>
            </a:solidFill>
            <a:ln w="12748"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B6BDE02A-6AED-8654-E517-6C6C1060A883}"/>
                </a:ext>
              </a:extLst>
            </p:cNvPr>
            <p:cNvSpPr/>
            <p:nvPr/>
          </p:nvSpPr>
          <p:spPr>
            <a:xfrm>
              <a:off x="3753887" y="3467186"/>
              <a:ext cx="491487" cy="510464"/>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chemeClr val="tx1"/>
            </a:solidFill>
            <a:ln w="12748" cap="flat">
              <a:noFill/>
              <a:prstDash val="solid"/>
              <a:miter/>
            </a:ln>
          </p:spPr>
          <p:txBody>
            <a:bodyPr rtlCol="0" anchor="ctr"/>
            <a:lstStyle/>
            <a:p>
              <a:endParaRPr lang="en-AU"/>
            </a:p>
          </p:txBody>
        </p:sp>
      </p:grpSp>
    </p:spTree>
    <p:extLst>
      <p:ext uri="{BB962C8B-B14F-4D97-AF65-F5344CB8AC3E}">
        <p14:creationId xmlns:p14="http://schemas.microsoft.com/office/powerpoint/2010/main" val="1382761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01CF415-FDE5-01A0-CAA1-AE9B5AAB2985}"/>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8" name="Picture Placeholder 9">
            <a:extLst>
              <a:ext uri="{FF2B5EF4-FFF2-40B4-BE49-F238E27FC236}">
                <a16:creationId xmlns:a16="http://schemas.microsoft.com/office/drawing/2014/main" id="{C292EF45-852B-71C3-DB84-8F2737B18BBB}"/>
              </a:ext>
            </a:extLst>
          </p:cNvPr>
          <p:cNvSpPr>
            <a:spLocks noGrp="1"/>
          </p:cNvSpPr>
          <p:nvPr>
            <p:ph type="pic" sz="quarter" idx="43" hasCustomPrompt="1"/>
          </p:nvPr>
        </p:nvSpPr>
        <p:spPr>
          <a:xfrm>
            <a:off x="388447" y="571369"/>
            <a:ext cx="5715262" cy="5715262"/>
          </a:xfrm>
          <a:prstGeom prst="ellipse">
            <a:avLst/>
          </a:prstGeom>
          <a:solidFill>
            <a:schemeClr val="tx1"/>
          </a:solidFill>
        </p:spPr>
        <p:txBody>
          <a:bodyPr wrap="square" anchor="ctr" anchorCtr="1">
            <a:noAutofit/>
          </a:bodyPr>
          <a:lstStyle>
            <a:lvl1pPr>
              <a:defRPr/>
            </a:lvl1pPr>
          </a:lstStyle>
          <a:p>
            <a:r>
              <a:rPr lang="en-US"/>
              <a:t> </a:t>
            </a:r>
            <a:endParaRPr lang="en-AU"/>
          </a:p>
        </p:txBody>
      </p:sp>
      <p:sp>
        <p:nvSpPr>
          <p:cNvPr id="4" name="Slide Number Placeholder 3">
            <a:extLst>
              <a:ext uri="{FF2B5EF4-FFF2-40B4-BE49-F238E27FC236}">
                <a16:creationId xmlns:a16="http://schemas.microsoft.com/office/drawing/2014/main" id="{21F606B4-330D-8ECD-9E27-9F411DDB76D9}"/>
              </a:ext>
            </a:extLst>
          </p:cNvPr>
          <p:cNvSpPr>
            <a:spLocks noGrp="1"/>
          </p:cNvSpPr>
          <p:nvPr>
            <p:ph type="sldNum" sz="quarter" idx="11"/>
          </p:nvPr>
        </p:nvSpPr>
        <p:spPr/>
        <p:txBody>
          <a:body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F8326D0C-4F57-05DE-577E-12D6E4FC59EC}"/>
              </a:ext>
            </a:extLst>
          </p:cNvPr>
          <p:cNvSpPr>
            <a:spLocks noGrp="1"/>
          </p:cNvSpPr>
          <p:nvPr>
            <p:ph type="title" hasCustomPrompt="1"/>
          </p:nvPr>
        </p:nvSpPr>
        <p:spPr>
          <a:xfrm>
            <a:off x="849747" y="2374742"/>
            <a:ext cx="4792662" cy="2108517"/>
          </a:xfrm>
        </p:spPr>
        <p:txBody>
          <a:bodyPr anchor="ctr" anchorCtr="0"/>
          <a:lstStyle>
            <a:lvl1pPr>
              <a:defRPr sz="4800">
                <a:solidFill>
                  <a:schemeClr val="bg1"/>
                </a:solidFill>
              </a:defRPr>
            </a:lvl1pPr>
          </a:lstStyle>
          <a:p>
            <a:r>
              <a:rPr lang="en-US"/>
              <a:t>Divider Title Goes Here</a:t>
            </a:r>
            <a:endParaRPr lang="en-AU"/>
          </a:p>
        </p:txBody>
      </p:sp>
      <p:sp>
        <p:nvSpPr>
          <p:cNvPr id="9" name="Text Placeholder 5">
            <a:extLst>
              <a:ext uri="{FF2B5EF4-FFF2-40B4-BE49-F238E27FC236}">
                <a16:creationId xmlns:a16="http://schemas.microsoft.com/office/drawing/2014/main" id="{FCEA7707-C23F-24A4-EC24-3A246A890E55}"/>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5" name="Footer Placeholder 4">
            <a:extLst>
              <a:ext uri="{FF2B5EF4-FFF2-40B4-BE49-F238E27FC236}">
                <a16:creationId xmlns:a16="http://schemas.microsoft.com/office/drawing/2014/main" id="{87C2B0AA-6AE3-9B93-FB19-1A990E52569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5924943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_6_option 1">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6CE8EEB-AFE3-B142-937F-56627257FAB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657"/>
          <a:stretch/>
        </p:blipFill>
        <p:spPr>
          <a:xfrm>
            <a:off x="0" y="134112"/>
            <a:ext cx="12192000" cy="6723888"/>
          </a:xfrm>
          <a:prstGeom prst="rect">
            <a:avLst/>
          </a:prstGeom>
        </p:spPr>
      </p:pic>
      <p:sp>
        <p:nvSpPr>
          <p:cNvPr id="24" name="Text Placeholder 4">
            <a:extLst>
              <a:ext uri="{FF2B5EF4-FFF2-40B4-BE49-F238E27FC236}">
                <a16:creationId xmlns:a16="http://schemas.microsoft.com/office/drawing/2014/main" id="{F2AEABB1-6805-3C47-8055-222F9C5C30D3}"/>
              </a:ext>
            </a:extLst>
          </p:cNvPr>
          <p:cNvSpPr>
            <a:spLocks noGrp="1"/>
          </p:cNvSpPr>
          <p:nvPr>
            <p:ph type="body" sz="quarter" idx="16" hasCustomPrompt="1"/>
          </p:nvPr>
        </p:nvSpPr>
        <p:spPr>
          <a:xfrm>
            <a:off x="526307" y="3504545"/>
            <a:ext cx="1715121" cy="1057515"/>
          </a:xfrm>
        </p:spPr>
        <p:txBody>
          <a:bodyPr/>
          <a:lstStyle/>
          <a:p>
            <a:r>
              <a:rPr lang="en-AU" sz="2000">
                <a:solidFill>
                  <a:schemeClr val="tx1"/>
                </a:solidFill>
              </a:rPr>
              <a:t>Copy goes here</a:t>
            </a:r>
          </a:p>
        </p:txBody>
      </p:sp>
      <p:sp>
        <p:nvSpPr>
          <p:cNvPr id="41" name="Text Placeholder 5">
            <a:extLst>
              <a:ext uri="{FF2B5EF4-FFF2-40B4-BE49-F238E27FC236}">
                <a16:creationId xmlns:a16="http://schemas.microsoft.com/office/drawing/2014/main" id="{0AADECF2-BE71-0B4F-BCC3-F2DED5EB3368}"/>
              </a:ext>
            </a:extLst>
          </p:cNvPr>
          <p:cNvSpPr>
            <a:spLocks noGrp="1" noChangeAspect="1"/>
          </p:cNvSpPr>
          <p:nvPr userDrawn="1">
            <p:ph type="body" sz="quarter" idx="36" hasCustomPrompt="1"/>
          </p:nvPr>
        </p:nvSpPr>
        <p:spPr>
          <a:xfrm>
            <a:off x="10904437" y="6170930"/>
            <a:ext cx="825600" cy="288000"/>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AU"/>
          </a:p>
        </p:txBody>
      </p:sp>
      <p:grpSp>
        <p:nvGrpSpPr>
          <p:cNvPr id="7" name="Group 6">
            <a:extLst>
              <a:ext uri="{FF2B5EF4-FFF2-40B4-BE49-F238E27FC236}">
                <a16:creationId xmlns:a16="http://schemas.microsoft.com/office/drawing/2014/main" id="{A9EAABF9-47CC-574F-9A0A-B12663AECD2A}"/>
              </a:ext>
            </a:extLst>
          </p:cNvPr>
          <p:cNvGrpSpPr/>
          <p:nvPr userDrawn="1"/>
        </p:nvGrpSpPr>
        <p:grpSpPr>
          <a:xfrm>
            <a:off x="448197" y="2786230"/>
            <a:ext cx="9453266" cy="1755953"/>
            <a:chOff x="448197" y="2786230"/>
            <a:chExt cx="9453266" cy="1247887"/>
          </a:xfrm>
        </p:grpSpPr>
        <p:cxnSp>
          <p:nvCxnSpPr>
            <p:cNvPr id="35" name="Straight Connector 34">
              <a:extLst>
                <a:ext uri="{FF2B5EF4-FFF2-40B4-BE49-F238E27FC236}">
                  <a16:creationId xmlns:a16="http://schemas.microsoft.com/office/drawing/2014/main" id="{335189D1-5A7F-E743-8E47-20D7B94013CC}"/>
                </a:ext>
              </a:extLst>
            </p:cNvPr>
            <p:cNvCxnSpPr>
              <a:cxnSpLocks/>
            </p:cNvCxnSpPr>
            <p:nvPr/>
          </p:nvCxnSpPr>
          <p:spPr>
            <a:xfrm>
              <a:off x="448197" y="2786230"/>
              <a:ext cx="0" cy="12478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6DEE24E-2EF3-F14C-AAF6-52FE59A05323}"/>
                </a:ext>
              </a:extLst>
            </p:cNvPr>
            <p:cNvCxnSpPr>
              <a:cxnSpLocks/>
            </p:cNvCxnSpPr>
            <p:nvPr/>
          </p:nvCxnSpPr>
          <p:spPr>
            <a:xfrm>
              <a:off x="2338555" y="2786230"/>
              <a:ext cx="0" cy="12478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0E2BB1C-AA96-B140-934E-8089FD3A2DA5}"/>
                </a:ext>
              </a:extLst>
            </p:cNvPr>
            <p:cNvCxnSpPr>
              <a:cxnSpLocks/>
            </p:cNvCxnSpPr>
            <p:nvPr/>
          </p:nvCxnSpPr>
          <p:spPr>
            <a:xfrm>
              <a:off x="4228913" y="2786230"/>
              <a:ext cx="0" cy="12478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3D51C10-53D9-504E-832F-9F102CCAEEDB}"/>
                </a:ext>
              </a:extLst>
            </p:cNvPr>
            <p:cNvCxnSpPr>
              <a:cxnSpLocks/>
            </p:cNvCxnSpPr>
            <p:nvPr/>
          </p:nvCxnSpPr>
          <p:spPr>
            <a:xfrm>
              <a:off x="6119270" y="2786230"/>
              <a:ext cx="0" cy="12478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13F29A3-BEE6-724B-A8D7-2AC886373DF8}"/>
                </a:ext>
              </a:extLst>
            </p:cNvPr>
            <p:cNvCxnSpPr>
              <a:cxnSpLocks/>
            </p:cNvCxnSpPr>
            <p:nvPr userDrawn="1"/>
          </p:nvCxnSpPr>
          <p:spPr>
            <a:xfrm>
              <a:off x="8011106" y="2786230"/>
              <a:ext cx="0" cy="12478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6C1969A-627D-724C-80CC-345E04CD03F0}"/>
                </a:ext>
              </a:extLst>
            </p:cNvPr>
            <p:cNvCxnSpPr>
              <a:cxnSpLocks/>
            </p:cNvCxnSpPr>
            <p:nvPr userDrawn="1"/>
          </p:nvCxnSpPr>
          <p:spPr>
            <a:xfrm>
              <a:off x="9901463" y="2786230"/>
              <a:ext cx="0" cy="12478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5" name="Text Placeholder 19">
            <a:extLst>
              <a:ext uri="{FF2B5EF4-FFF2-40B4-BE49-F238E27FC236}">
                <a16:creationId xmlns:a16="http://schemas.microsoft.com/office/drawing/2014/main" id="{D39AAFDB-4B0E-B444-9B70-39248DA380D9}"/>
              </a:ext>
            </a:extLst>
          </p:cNvPr>
          <p:cNvSpPr>
            <a:spLocks noGrp="1"/>
          </p:cNvSpPr>
          <p:nvPr>
            <p:ph type="body" sz="quarter" idx="25" hasCustomPrompt="1"/>
          </p:nvPr>
        </p:nvSpPr>
        <p:spPr>
          <a:xfrm>
            <a:off x="536494" y="2801110"/>
            <a:ext cx="805289" cy="558317"/>
          </a:xfrm>
        </p:spPr>
        <p:txBody>
          <a:bodyPr/>
          <a:lstStyle>
            <a:lvl1pPr>
              <a:lnSpc>
                <a:spcPct val="90000"/>
              </a:lnSpc>
              <a:spcBef>
                <a:spcPts val="0"/>
              </a:spcBef>
              <a:spcAft>
                <a:spcPts val="0"/>
              </a:spcAft>
              <a:defRPr lang="en-US" sz="3600" b="0"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p:txBody>
      </p:sp>
      <p:sp>
        <p:nvSpPr>
          <p:cNvPr id="56" name="Text Placeholder 4">
            <a:extLst>
              <a:ext uri="{FF2B5EF4-FFF2-40B4-BE49-F238E27FC236}">
                <a16:creationId xmlns:a16="http://schemas.microsoft.com/office/drawing/2014/main" id="{1669CFBA-3782-3546-A18D-31F39DDFD6CD}"/>
              </a:ext>
            </a:extLst>
          </p:cNvPr>
          <p:cNvSpPr>
            <a:spLocks noGrp="1"/>
          </p:cNvSpPr>
          <p:nvPr>
            <p:ph type="body" sz="quarter" idx="37" hasCustomPrompt="1"/>
          </p:nvPr>
        </p:nvSpPr>
        <p:spPr>
          <a:xfrm>
            <a:off x="2423592" y="3504545"/>
            <a:ext cx="1715121" cy="1057515"/>
          </a:xfrm>
        </p:spPr>
        <p:txBody>
          <a:bodyPr/>
          <a:lstStyle/>
          <a:p>
            <a:r>
              <a:rPr lang="en-AU" sz="2000">
                <a:solidFill>
                  <a:schemeClr val="tx1"/>
                </a:solidFill>
              </a:rPr>
              <a:t>Copy goes here</a:t>
            </a:r>
          </a:p>
        </p:txBody>
      </p:sp>
      <p:sp>
        <p:nvSpPr>
          <p:cNvPr id="57" name="Text Placeholder 19">
            <a:extLst>
              <a:ext uri="{FF2B5EF4-FFF2-40B4-BE49-F238E27FC236}">
                <a16:creationId xmlns:a16="http://schemas.microsoft.com/office/drawing/2014/main" id="{A4EA63E1-F6D9-AD40-958F-7A64B089B71B}"/>
              </a:ext>
            </a:extLst>
          </p:cNvPr>
          <p:cNvSpPr>
            <a:spLocks noGrp="1"/>
          </p:cNvSpPr>
          <p:nvPr>
            <p:ph type="body" sz="quarter" idx="38" hasCustomPrompt="1"/>
          </p:nvPr>
        </p:nvSpPr>
        <p:spPr>
          <a:xfrm>
            <a:off x="2433779" y="2801110"/>
            <a:ext cx="805289" cy="558317"/>
          </a:xfrm>
        </p:spPr>
        <p:txBody>
          <a:bodyPr/>
          <a:lstStyle>
            <a:lvl1pPr>
              <a:lnSpc>
                <a:spcPct val="90000"/>
              </a:lnSpc>
              <a:spcBef>
                <a:spcPts val="0"/>
              </a:spcBef>
              <a:spcAft>
                <a:spcPts val="0"/>
              </a:spcAft>
              <a:defRPr lang="en-US" sz="3600" b="0"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p:txBody>
      </p:sp>
      <p:sp>
        <p:nvSpPr>
          <p:cNvPr id="58" name="Text Placeholder 4">
            <a:extLst>
              <a:ext uri="{FF2B5EF4-FFF2-40B4-BE49-F238E27FC236}">
                <a16:creationId xmlns:a16="http://schemas.microsoft.com/office/drawing/2014/main" id="{E81302ED-735E-2349-ABF8-FEF15C2A04A6}"/>
              </a:ext>
            </a:extLst>
          </p:cNvPr>
          <p:cNvSpPr>
            <a:spLocks noGrp="1"/>
          </p:cNvSpPr>
          <p:nvPr>
            <p:ph type="body" sz="quarter" idx="39" hasCustomPrompt="1"/>
          </p:nvPr>
        </p:nvSpPr>
        <p:spPr>
          <a:xfrm>
            <a:off x="4315678" y="3504545"/>
            <a:ext cx="1715121" cy="1057515"/>
          </a:xfrm>
        </p:spPr>
        <p:txBody>
          <a:bodyPr/>
          <a:lstStyle/>
          <a:p>
            <a:r>
              <a:rPr lang="en-AU" sz="2000">
                <a:solidFill>
                  <a:schemeClr val="tx1"/>
                </a:solidFill>
              </a:rPr>
              <a:t>Copy goes here</a:t>
            </a:r>
          </a:p>
        </p:txBody>
      </p:sp>
      <p:sp>
        <p:nvSpPr>
          <p:cNvPr id="59" name="Text Placeholder 19">
            <a:extLst>
              <a:ext uri="{FF2B5EF4-FFF2-40B4-BE49-F238E27FC236}">
                <a16:creationId xmlns:a16="http://schemas.microsoft.com/office/drawing/2014/main" id="{7AB7A0C1-6B05-7441-85D7-79A92C60C69D}"/>
              </a:ext>
            </a:extLst>
          </p:cNvPr>
          <p:cNvSpPr>
            <a:spLocks noGrp="1"/>
          </p:cNvSpPr>
          <p:nvPr>
            <p:ph type="body" sz="quarter" idx="40" hasCustomPrompt="1"/>
          </p:nvPr>
        </p:nvSpPr>
        <p:spPr>
          <a:xfrm>
            <a:off x="4325865" y="2801110"/>
            <a:ext cx="805289" cy="558317"/>
          </a:xfrm>
        </p:spPr>
        <p:txBody>
          <a:bodyPr/>
          <a:lstStyle>
            <a:lvl1pPr>
              <a:lnSpc>
                <a:spcPct val="90000"/>
              </a:lnSpc>
              <a:spcBef>
                <a:spcPts val="0"/>
              </a:spcBef>
              <a:spcAft>
                <a:spcPts val="0"/>
              </a:spcAft>
              <a:defRPr lang="en-US" sz="3600" b="0"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p:txBody>
      </p:sp>
      <p:sp>
        <p:nvSpPr>
          <p:cNvPr id="60" name="Text Placeholder 4">
            <a:extLst>
              <a:ext uri="{FF2B5EF4-FFF2-40B4-BE49-F238E27FC236}">
                <a16:creationId xmlns:a16="http://schemas.microsoft.com/office/drawing/2014/main" id="{FF963039-3D95-4B47-993B-852539DA083D}"/>
              </a:ext>
            </a:extLst>
          </p:cNvPr>
          <p:cNvSpPr>
            <a:spLocks noGrp="1"/>
          </p:cNvSpPr>
          <p:nvPr>
            <p:ph type="body" sz="quarter" idx="41" hasCustomPrompt="1"/>
          </p:nvPr>
        </p:nvSpPr>
        <p:spPr>
          <a:xfrm>
            <a:off x="6204113" y="3504545"/>
            <a:ext cx="1715121" cy="1057515"/>
          </a:xfrm>
        </p:spPr>
        <p:txBody>
          <a:bodyPr/>
          <a:lstStyle/>
          <a:p>
            <a:r>
              <a:rPr lang="en-AU" sz="2000">
                <a:solidFill>
                  <a:schemeClr val="tx1"/>
                </a:solidFill>
              </a:rPr>
              <a:t>Copy goes here</a:t>
            </a:r>
          </a:p>
        </p:txBody>
      </p:sp>
      <p:sp>
        <p:nvSpPr>
          <p:cNvPr id="61" name="Text Placeholder 19">
            <a:extLst>
              <a:ext uri="{FF2B5EF4-FFF2-40B4-BE49-F238E27FC236}">
                <a16:creationId xmlns:a16="http://schemas.microsoft.com/office/drawing/2014/main" id="{9E0DA86E-FD96-794D-912C-01A9D0675DDF}"/>
              </a:ext>
            </a:extLst>
          </p:cNvPr>
          <p:cNvSpPr>
            <a:spLocks noGrp="1"/>
          </p:cNvSpPr>
          <p:nvPr>
            <p:ph type="body" sz="quarter" idx="42" hasCustomPrompt="1"/>
          </p:nvPr>
        </p:nvSpPr>
        <p:spPr>
          <a:xfrm>
            <a:off x="6214300" y="2801110"/>
            <a:ext cx="805289" cy="558317"/>
          </a:xfrm>
        </p:spPr>
        <p:txBody>
          <a:bodyPr/>
          <a:lstStyle>
            <a:lvl1pPr>
              <a:lnSpc>
                <a:spcPct val="90000"/>
              </a:lnSpc>
              <a:spcBef>
                <a:spcPts val="0"/>
              </a:spcBef>
              <a:spcAft>
                <a:spcPts val="0"/>
              </a:spcAft>
              <a:defRPr lang="en-US" sz="3600" b="0"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p:txBody>
      </p:sp>
      <p:sp>
        <p:nvSpPr>
          <p:cNvPr id="62" name="Text Placeholder 4">
            <a:extLst>
              <a:ext uri="{FF2B5EF4-FFF2-40B4-BE49-F238E27FC236}">
                <a16:creationId xmlns:a16="http://schemas.microsoft.com/office/drawing/2014/main" id="{C620DFD1-0A87-0E48-BC26-570A0B7207C4}"/>
              </a:ext>
            </a:extLst>
          </p:cNvPr>
          <p:cNvSpPr>
            <a:spLocks noGrp="1"/>
          </p:cNvSpPr>
          <p:nvPr>
            <p:ph type="body" sz="quarter" idx="43" hasCustomPrompt="1"/>
          </p:nvPr>
        </p:nvSpPr>
        <p:spPr>
          <a:xfrm>
            <a:off x="8099602" y="3504545"/>
            <a:ext cx="1715121" cy="1057515"/>
          </a:xfrm>
        </p:spPr>
        <p:txBody>
          <a:bodyPr/>
          <a:lstStyle/>
          <a:p>
            <a:r>
              <a:rPr lang="en-AU" sz="2000">
                <a:solidFill>
                  <a:schemeClr val="tx1"/>
                </a:solidFill>
              </a:rPr>
              <a:t>Copy goes here</a:t>
            </a:r>
          </a:p>
        </p:txBody>
      </p:sp>
      <p:sp>
        <p:nvSpPr>
          <p:cNvPr id="63" name="Text Placeholder 19">
            <a:extLst>
              <a:ext uri="{FF2B5EF4-FFF2-40B4-BE49-F238E27FC236}">
                <a16:creationId xmlns:a16="http://schemas.microsoft.com/office/drawing/2014/main" id="{0786EEE6-8B6B-3C4D-A806-D3798466DB18}"/>
              </a:ext>
            </a:extLst>
          </p:cNvPr>
          <p:cNvSpPr>
            <a:spLocks noGrp="1"/>
          </p:cNvSpPr>
          <p:nvPr>
            <p:ph type="body" sz="quarter" idx="44" hasCustomPrompt="1"/>
          </p:nvPr>
        </p:nvSpPr>
        <p:spPr>
          <a:xfrm>
            <a:off x="8109789" y="2801110"/>
            <a:ext cx="805289" cy="558317"/>
          </a:xfrm>
        </p:spPr>
        <p:txBody>
          <a:bodyPr/>
          <a:lstStyle>
            <a:lvl1pPr>
              <a:lnSpc>
                <a:spcPct val="90000"/>
              </a:lnSpc>
              <a:spcBef>
                <a:spcPts val="0"/>
              </a:spcBef>
              <a:spcAft>
                <a:spcPts val="0"/>
              </a:spcAft>
              <a:defRPr lang="en-US" sz="3600" b="0"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p:txBody>
      </p:sp>
      <p:sp>
        <p:nvSpPr>
          <p:cNvPr id="64" name="Text Placeholder 4">
            <a:extLst>
              <a:ext uri="{FF2B5EF4-FFF2-40B4-BE49-F238E27FC236}">
                <a16:creationId xmlns:a16="http://schemas.microsoft.com/office/drawing/2014/main" id="{EFE45A23-78D1-384A-ADD8-0B771AE630F4}"/>
              </a:ext>
            </a:extLst>
          </p:cNvPr>
          <p:cNvSpPr>
            <a:spLocks noGrp="1"/>
          </p:cNvSpPr>
          <p:nvPr>
            <p:ph type="body" sz="quarter" idx="45" hasCustomPrompt="1"/>
          </p:nvPr>
        </p:nvSpPr>
        <p:spPr>
          <a:xfrm>
            <a:off x="9974245" y="3504545"/>
            <a:ext cx="1715121" cy="1057515"/>
          </a:xfrm>
        </p:spPr>
        <p:txBody>
          <a:bodyPr/>
          <a:lstStyle/>
          <a:p>
            <a:r>
              <a:rPr lang="en-AU" sz="2000">
                <a:solidFill>
                  <a:schemeClr val="tx1"/>
                </a:solidFill>
              </a:rPr>
              <a:t>Copy goes here</a:t>
            </a:r>
          </a:p>
        </p:txBody>
      </p:sp>
      <p:sp>
        <p:nvSpPr>
          <p:cNvPr id="65" name="Text Placeholder 19">
            <a:extLst>
              <a:ext uri="{FF2B5EF4-FFF2-40B4-BE49-F238E27FC236}">
                <a16:creationId xmlns:a16="http://schemas.microsoft.com/office/drawing/2014/main" id="{926CA14B-A20C-7647-ADE8-721A8669E115}"/>
              </a:ext>
            </a:extLst>
          </p:cNvPr>
          <p:cNvSpPr>
            <a:spLocks noGrp="1"/>
          </p:cNvSpPr>
          <p:nvPr>
            <p:ph type="body" sz="quarter" idx="46" hasCustomPrompt="1"/>
          </p:nvPr>
        </p:nvSpPr>
        <p:spPr>
          <a:xfrm>
            <a:off x="9984432" y="2801110"/>
            <a:ext cx="805289" cy="558317"/>
          </a:xfrm>
        </p:spPr>
        <p:txBody>
          <a:bodyPr/>
          <a:lstStyle>
            <a:lvl1pPr>
              <a:lnSpc>
                <a:spcPct val="90000"/>
              </a:lnSpc>
              <a:spcBef>
                <a:spcPts val="0"/>
              </a:spcBef>
              <a:spcAft>
                <a:spcPts val="0"/>
              </a:spcAft>
              <a:defRPr lang="en-US" sz="3600" b="0"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p:txBody>
      </p:sp>
      <p:sp>
        <p:nvSpPr>
          <p:cNvPr id="66" name="Title 5">
            <a:extLst>
              <a:ext uri="{FF2B5EF4-FFF2-40B4-BE49-F238E27FC236}">
                <a16:creationId xmlns:a16="http://schemas.microsoft.com/office/drawing/2014/main" id="{1B128E33-82A1-D445-976B-CA33B4EC90C0}"/>
              </a:ext>
            </a:extLst>
          </p:cNvPr>
          <p:cNvSpPr>
            <a:spLocks noGrp="1"/>
          </p:cNvSpPr>
          <p:nvPr>
            <p:ph type="title" hasCustomPrompt="1"/>
          </p:nvPr>
        </p:nvSpPr>
        <p:spPr>
          <a:xfrm>
            <a:off x="479425" y="604203"/>
            <a:ext cx="11233150" cy="746695"/>
          </a:xfrm>
        </p:spPr>
        <p:txBody>
          <a:bodyPr/>
          <a:lstStyle/>
          <a:p>
            <a:r>
              <a:rPr lang="en-US"/>
              <a:t>Content</a:t>
            </a:r>
            <a:endParaRPr lang="en-AU"/>
          </a:p>
        </p:txBody>
      </p:sp>
    </p:spTree>
    <p:extLst>
      <p:ext uri="{BB962C8B-B14F-4D97-AF65-F5344CB8AC3E}">
        <p14:creationId xmlns:p14="http://schemas.microsoft.com/office/powerpoint/2010/main" val="1981702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Agenda_8_option 1">
    <p:spTree>
      <p:nvGrpSpPr>
        <p:cNvPr id="1" name=""/>
        <p:cNvGrpSpPr/>
        <p:nvPr/>
      </p:nvGrpSpPr>
      <p:grpSpPr>
        <a:xfrm>
          <a:off x="0" y="0"/>
          <a:ext cx="0" cy="0"/>
          <a:chOff x="0" y="0"/>
          <a:chExt cx="0" cy="0"/>
        </a:xfrm>
      </p:grpSpPr>
      <p:pic>
        <p:nvPicPr>
          <p:cNvPr id="5" name="Picture 4" descr="A picture containing text, wall, indoor&#10;&#10;Description automatically generated">
            <a:extLst>
              <a:ext uri="{FF2B5EF4-FFF2-40B4-BE49-F238E27FC236}">
                <a16:creationId xmlns:a16="http://schemas.microsoft.com/office/drawing/2014/main" id="{E4D795F8-D92C-423E-F2CB-9AE29B9B6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860" b="6782"/>
          <a:stretch/>
        </p:blipFill>
        <p:spPr>
          <a:xfrm>
            <a:off x="0" y="136800"/>
            <a:ext cx="12185010" cy="6721201"/>
          </a:xfrm>
          <a:prstGeom prst="rect">
            <a:avLst/>
          </a:prstGeom>
        </p:spPr>
      </p:pic>
      <p:sp>
        <p:nvSpPr>
          <p:cNvPr id="8" name="Title 7">
            <a:extLst>
              <a:ext uri="{FF2B5EF4-FFF2-40B4-BE49-F238E27FC236}">
                <a16:creationId xmlns:a16="http://schemas.microsoft.com/office/drawing/2014/main" id="{3C66BEDF-06D7-3E42-1D1D-848E59AC0CFD}"/>
              </a:ext>
            </a:extLst>
          </p:cNvPr>
          <p:cNvSpPr>
            <a:spLocks noGrp="1"/>
          </p:cNvSpPr>
          <p:nvPr>
            <p:ph type="title" hasCustomPrompt="1"/>
          </p:nvPr>
        </p:nvSpPr>
        <p:spPr>
          <a:xfrm>
            <a:off x="675638" y="1720960"/>
            <a:ext cx="3420000" cy="3420000"/>
          </a:xfrm>
          <a:prstGeom prst="ellipse">
            <a:avLst/>
          </a:prstGeom>
          <a:solidFill>
            <a:schemeClr val="tx1"/>
          </a:solidFill>
        </p:spPr>
        <p:txBody>
          <a:bodyPr wrap="none" anchor="ctr" anchorCtr="1"/>
          <a:lstStyle>
            <a:lvl1pPr>
              <a:defRPr sz="4800">
                <a:solidFill>
                  <a:schemeClr val="bg1"/>
                </a:solidFill>
              </a:defRPr>
            </a:lvl1pPr>
          </a:lstStyle>
          <a:p>
            <a:r>
              <a:rPr lang="en-US"/>
              <a:t>Your text </a:t>
            </a:r>
            <a:br>
              <a:rPr lang="en-US"/>
            </a:br>
            <a:r>
              <a:rPr lang="en-US"/>
              <a:t>here</a:t>
            </a:r>
            <a:endParaRPr lang="en-AU"/>
          </a:p>
        </p:txBody>
      </p:sp>
      <p:sp>
        <p:nvSpPr>
          <p:cNvPr id="57" name="Text Placeholder 5">
            <a:extLst>
              <a:ext uri="{FF2B5EF4-FFF2-40B4-BE49-F238E27FC236}">
                <a16:creationId xmlns:a16="http://schemas.microsoft.com/office/drawing/2014/main" id="{62135188-67F3-6D4E-929E-F3A8FD902BF0}"/>
              </a:ext>
            </a:extLst>
          </p:cNvPr>
          <p:cNvSpPr>
            <a:spLocks noGrp="1" noChangeAspect="1"/>
          </p:cNvSpPr>
          <p:nvPr>
            <p:ph type="body" sz="quarter" idx="36" hasCustomPrompt="1"/>
          </p:nvPr>
        </p:nvSpPr>
        <p:spPr>
          <a:xfrm>
            <a:off x="10904437" y="6170930"/>
            <a:ext cx="825600" cy="288000"/>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AU"/>
          </a:p>
        </p:txBody>
      </p:sp>
      <p:sp>
        <p:nvSpPr>
          <p:cNvPr id="59" name="Text Placeholder 58">
            <a:extLst>
              <a:ext uri="{FF2B5EF4-FFF2-40B4-BE49-F238E27FC236}">
                <a16:creationId xmlns:a16="http://schemas.microsoft.com/office/drawing/2014/main" id="{9DD99C10-1FA6-F61C-3921-32CD27AD0074}"/>
              </a:ext>
            </a:extLst>
          </p:cNvPr>
          <p:cNvSpPr>
            <a:spLocks noGrp="1"/>
          </p:cNvSpPr>
          <p:nvPr>
            <p:ph type="body" sz="quarter" idx="46" hasCustomPrompt="1"/>
          </p:nvPr>
        </p:nvSpPr>
        <p:spPr>
          <a:xfrm>
            <a:off x="4661453" y="2097351"/>
            <a:ext cx="828000" cy="504000"/>
          </a:xfrm>
        </p:spPr>
        <p:txBody>
          <a:bodyPr/>
          <a:lstStyle>
            <a:lvl1pPr>
              <a:defRPr>
                <a:solidFill>
                  <a:schemeClr val="tx2"/>
                </a:solidFill>
              </a:defRPr>
            </a:lvl1pPr>
          </a:lstStyle>
          <a:p>
            <a:pPr lvl="0"/>
            <a:r>
              <a:rPr lang="en-US"/>
              <a:t>##</a:t>
            </a:r>
            <a:endParaRPr lang="en-GB"/>
          </a:p>
        </p:txBody>
      </p:sp>
      <p:sp>
        <p:nvSpPr>
          <p:cNvPr id="70" name="Text Placeholder 58">
            <a:extLst>
              <a:ext uri="{FF2B5EF4-FFF2-40B4-BE49-F238E27FC236}">
                <a16:creationId xmlns:a16="http://schemas.microsoft.com/office/drawing/2014/main" id="{55BC97D6-C984-F224-77E8-561F7F855517}"/>
              </a:ext>
            </a:extLst>
          </p:cNvPr>
          <p:cNvSpPr>
            <a:spLocks noGrp="1"/>
          </p:cNvSpPr>
          <p:nvPr>
            <p:ph type="body" sz="quarter" idx="47" hasCustomPrompt="1"/>
          </p:nvPr>
        </p:nvSpPr>
        <p:spPr>
          <a:xfrm>
            <a:off x="6387391" y="2097351"/>
            <a:ext cx="828000" cy="504000"/>
          </a:xfrm>
        </p:spPr>
        <p:txBody>
          <a:bodyPr/>
          <a:lstStyle>
            <a:lvl1pPr>
              <a:defRPr>
                <a:solidFill>
                  <a:schemeClr val="tx2"/>
                </a:solidFill>
              </a:defRPr>
            </a:lvl1pPr>
          </a:lstStyle>
          <a:p>
            <a:pPr lvl="0"/>
            <a:r>
              <a:rPr lang="en-US"/>
              <a:t>##</a:t>
            </a:r>
            <a:endParaRPr lang="en-GB"/>
          </a:p>
        </p:txBody>
      </p:sp>
      <p:sp>
        <p:nvSpPr>
          <p:cNvPr id="71" name="Text Placeholder 58">
            <a:extLst>
              <a:ext uri="{FF2B5EF4-FFF2-40B4-BE49-F238E27FC236}">
                <a16:creationId xmlns:a16="http://schemas.microsoft.com/office/drawing/2014/main" id="{156DBC6B-AA3C-4F33-27C2-5F740920ED7D}"/>
              </a:ext>
            </a:extLst>
          </p:cNvPr>
          <p:cNvSpPr>
            <a:spLocks noGrp="1"/>
          </p:cNvSpPr>
          <p:nvPr>
            <p:ph type="body" sz="quarter" idx="48" hasCustomPrompt="1"/>
          </p:nvPr>
        </p:nvSpPr>
        <p:spPr>
          <a:xfrm>
            <a:off x="8113329" y="2097351"/>
            <a:ext cx="828000" cy="504000"/>
          </a:xfrm>
        </p:spPr>
        <p:txBody>
          <a:bodyPr/>
          <a:lstStyle>
            <a:lvl1pPr>
              <a:defRPr>
                <a:solidFill>
                  <a:schemeClr val="tx2"/>
                </a:solidFill>
              </a:defRPr>
            </a:lvl1pPr>
          </a:lstStyle>
          <a:p>
            <a:pPr lvl="0"/>
            <a:r>
              <a:rPr lang="en-US"/>
              <a:t>##</a:t>
            </a:r>
            <a:endParaRPr lang="en-GB"/>
          </a:p>
        </p:txBody>
      </p:sp>
      <p:sp>
        <p:nvSpPr>
          <p:cNvPr id="72" name="Text Placeholder 58">
            <a:extLst>
              <a:ext uri="{FF2B5EF4-FFF2-40B4-BE49-F238E27FC236}">
                <a16:creationId xmlns:a16="http://schemas.microsoft.com/office/drawing/2014/main" id="{DDBDC92D-E6CD-E3CF-1B48-A332E4A1616D}"/>
              </a:ext>
            </a:extLst>
          </p:cNvPr>
          <p:cNvSpPr>
            <a:spLocks noGrp="1"/>
          </p:cNvSpPr>
          <p:nvPr>
            <p:ph type="body" sz="quarter" idx="49" hasCustomPrompt="1"/>
          </p:nvPr>
        </p:nvSpPr>
        <p:spPr>
          <a:xfrm>
            <a:off x="9839267" y="2097351"/>
            <a:ext cx="828000" cy="504000"/>
          </a:xfrm>
        </p:spPr>
        <p:txBody>
          <a:bodyPr/>
          <a:lstStyle>
            <a:lvl1pPr>
              <a:defRPr>
                <a:solidFill>
                  <a:schemeClr val="tx2"/>
                </a:solidFill>
              </a:defRPr>
            </a:lvl1pPr>
          </a:lstStyle>
          <a:p>
            <a:pPr lvl="0"/>
            <a:r>
              <a:rPr lang="en-US"/>
              <a:t>##</a:t>
            </a:r>
            <a:endParaRPr lang="en-GB"/>
          </a:p>
        </p:txBody>
      </p:sp>
      <p:sp>
        <p:nvSpPr>
          <p:cNvPr id="73" name="Text Placeholder 58">
            <a:extLst>
              <a:ext uri="{FF2B5EF4-FFF2-40B4-BE49-F238E27FC236}">
                <a16:creationId xmlns:a16="http://schemas.microsoft.com/office/drawing/2014/main" id="{09AA2912-7574-8EB5-FB48-031ED0CC4969}"/>
              </a:ext>
            </a:extLst>
          </p:cNvPr>
          <p:cNvSpPr>
            <a:spLocks noGrp="1"/>
          </p:cNvSpPr>
          <p:nvPr>
            <p:ph type="body" sz="quarter" idx="50" hasCustomPrompt="1"/>
          </p:nvPr>
        </p:nvSpPr>
        <p:spPr>
          <a:xfrm>
            <a:off x="4661453" y="4074279"/>
            <a:ext cx="828000" cy="504000"/>
          </a:xfrm>
        </p:spPr>
        <p:txBody>
          <a:bodyPr/>
          <a:lstStyle>
            <a:lvl1pPr>
              <a:defRPr>
                <a:solidFill>
                  <a:schemeClr val="tx2"/>
                </a:solidFill>
              </a:defRPr>
            </a:lvl1pPr>
          </a:lstStyle>
          <a:p>
            <a:pPr lvl="0"/>
            <a:r>
              <a:rPr lang="en-US"/>
              <a:t>##</a:t>
            </a:r>
            <a:endParaRPr lang="en-GB"/>
          </a:p>
        </p:txBody>
      </p:sp>
      <p:sp>
        <p:nvSpPr>
          <p:cNvPr id="74" name="Text Placeholder 58">
            <a:extLst>
              <a:ext uri="{FF2B5EF4-FFF2-40B4-BE49-F238E27FC236}">
                <a16:creationId xmlns:a16="http://schemas.microsoft.com/office/drawing/2014/main" id="{B3E35DE4-853E-29A2-AE51-C3DD2DDC97E4}"/>
              </a:ext>
            </a:extLst>
          </p:cNvPr>
          <p:cNvSpPr>
            <a:spLocks noGrp="1"/>
          </p:cNvSpPr>
          <p:nvPr>
            <p:ph type="body" sz="quarter" idx="51" hasCustomPrompt="1"/>
          </p:nvPr>
        </p:nvSpPr>
        <p:spPr>
          <a:xfrm>
            <a:off x="6387391" y="4074279"/>
            <a:ext cx="828000" cy="504000"/>
          </a:xfrm>
        </p:spPr>
        <p:txBody>
          <a:bodyPr/>
          <a:lstStyle>
            <a:lvl1pPr>
              <a:defRPr>
                <a:solidFill>
                  <a:schemeClr val="tx2"/>
                </a:solidFill>
              </a:defRPr>
            </a:lvl1pPr>
          </a:lstStyle>
          <a:p>
            <a:pPr lvl="0"/>
            <a:r>
              <a:rPr lang="en-US"/>
              <a:t>##</a:t>
            </a:r>
            <a:endParaRPr lang="en-GB"/>
          </a:p>
        </p:txBody>
      </p:sp>
      <p:sp>
        <p:nvSpPr>
          <p:cNvPr id="75" name="Text Placeholder 58">
            <a:extLst>
              <a:ext uri="{FF2B5EF4-FFF2-40B4-BE49-F238E27FC236}">
                <a16:creationId xmlns:a16="http://schemas.microsoft.com/office/drawing/2014/main" id="{573CD600-9966-7F3E-A3C9-A95CD8BCD838}"/>
              </a:ext>
            </a:extLst>
          </p:cNvPr>
          <p:cNvSpPr>
            <a:spLocks noGrp="1"/>
          </p:cNvSpPr>
          <p:nvPr>
            <p:ph type="body" sz="quarter" idx="52" hasCustomPrompt="1"/>
          </p:nvPr>
        </p:nvSpPr>
        <p:spPr>
          <a:xfrm>
            <a:off x="8113329" y="4074279"/>
            <a:ext cx="828000" cy="504000"/>
          </a:xfrm>
        </p:spPr>
        <p:txBody>
          <a:bodyPr/>
          <a:lstStyle>
            <a:lvl1pPr>
              <a:defRPr>
                <a:solidFill>
                  <a:schemeClr val="tx2"/>
                </a:solidFill>
              </a:defRPr>
            </a:lvl1pPr>
          </a:lstStyle>
          <a:p>
            <a:pPr lvl="0"/>
            <a:r>
              <a:rPr lang="en-US"/>
              <a:t>##</a:t>
            </a:r>
            <a:endParaRPr lang="en-GB"/>
          </a:p>
        </p:txBody>
      </p:sp>
      <p:sp>
        <p:nvSpPr>
          <p:cNvPr id="76" name="Text Placeholder 58">
            <a:extLst>
              <a:ext uri="{FF2B5EF4-FFF2-40B4-BE49-F238E27FC236}">
                <a16:creationId xmlns:a16="http://schemas.microsoft.com/office/drawing/2014/main" id="{2889EA54-ECFB-8B4F-161F-A9A573EA1990}"/>
              </a:ext>
            </a:extLst>
          </p:cNvPr>
          <p:cNvSpPr>
            <a:spLocks noGrp="1"/>
          </p:cNvSpPr>
          <p:nvPr>
            <p:ph type="body" sz="quarter" idx="53" hasCustomPrompt="1"/>
          </p:nvPr>
        </p:nvSpPr>
        <p:spPr>
          <a:xfrm>
            <a:off x="9839267" y="4074279"/>
            <a:ext cx="828000" cy="504000"/>
          </a:xfrm>
        </p:spPr>
        <p:txBody>
          <a:bodyPr/>
          <a:lstStyle>
            <a:lvl1pPr>
              <a:defRPr>
                <a:solidFill>
                  <a:schemeClr val="tx2"/>
                </a:solidFill>
              </a:defRPr>
            </a:lvl1pPr>
          </a:lstStyle>
          <a:p>
            <a:pPr lvl="0"/>
            <a:r>
              <a:rPr lang="en-US"/>
              <a:t>##</a:t>
            </a:r>
            <a:endParaRPr lang="en-GB"/>
          </a:p>
        </p:txBody>
      </p:sp>
      <p:sp>
        <p:nvSpPr>
          <p:cNvPr id="90" name="Content Placeholder 89">
            <a:extLst>
              <a:ext uri="{FF2B5EF4-FFF2-40B4-BE49-F238E27FC236}">
                <a16:creationId xmlns:a16="http://schemas.microsoft.com/office/drawing/2014/main" id="{866305B6-F59D-0F8E-BCCA-93961E7CB3D3}"/>
              </a:ext>
            </a:extLst>
          </p:cNvPr>
          <p:cNvSpPr>
            <a:spLocks noGrp="1"/>
          </p:cNvSpPr>
          <p:nvPr>
            <p:ph sz="quarter" idx="54"/>
          </p:nvPr>
        </p:nvSpPr>
        <p:spPr>
          <a:xfrm>
            <a:off x="4660044" y="1878496"/>
            <a:ext cx="1472400" cy="50400"/>
          </a:xfrm>
          <a:solidFill>
            <a:schemeClr val="tx1"/>
          </a:solidFill>
        </p:spPr>
        <p:txBody>
          <a:bodyPr/>
          <a:lstStyle>
            <a:lvl1pPr>
              <a:defRPr>
                <a:noFill/>
              </a:defRPr>
            </a:lvl1pPr>
          </a:lstStyle>
          <a:p>
            <a:pPr lvl="0"/>
            <a:r>
              <a:rPr lang="en-US"/>
              <a:t>Click to edit Master text styles</a:t>
            </a:r>
          </a:p>
        </p:txBody>
      </p:sp>
      <p:sp>
        <p:nvSpPr>
          <p:cNvPr id="91" name="Content Placeholder 89">
            <a:extLst>
              <a:ext uri="{FF2B5EF4-FFF2-40B4-BE49-F238E27FC236}">
                <a16:creationId xmlns:a16="http://schemas.microsoft.com/office/drawing/2014/main" id="{5C7935FD-24E8-EE45-6F3F-D313F163CCE5}"/>
              </a:ext>
            </a:extLst>
          </p:cNvPr>
          <p:cNvSpPr>
            <a:spLocks noGrp="1"/>
          </p:cNvSpPr>
          <p:nvPr>
            <p:ph sz="quarter" idx="55"/>
          </p:nvPr>
        </p:nvSpPr>
        <p:spPr>
          <a:xfrm>
            <a:off x="6387391" y="1878496"/>
            <a:ext cx="1472400" cy="50400"/>
          </a:xfrm>
          <a:solidFill>
            <a:schemeClr val="tx1"/>
          </a:solidFill>
        </p:spPr>
        <p:txBody>
          <a:bodyPr/>
          <a:lstStyle>
            <a:lvl1pPr>
              <a:defRPr>
                <a:noFill/>
              </a:defRPr>
            </a:lvl1pPr>
          </a:lstStyle>
          <a:p>
            <a:pPr lvl="0"/>
            <a:r>
              <a:rPr lang="en-US"/>
              <a:t>Click to edit Master text styles</a:t>
            </a:r>
          </a:p>
        </p:txBody>
      </p:sp>
      <p:sp>
        <p:nvSpPr>
          <p:cNvPr id="92" name="Content Placeholder 89">
            <a:extLst>
              <a:ext uri="{FF2B5EF4-FFF2-40B4-BE49-F238E27FC236}">
                <a16:creationId xmlns:a16="http://schemas.microsoft.com/office/drawing/2014/main" id="{BEB06B14-14C2-F76E-AFD4-86E1F997CEF9}"/>
              </a:ext>
            </a:extLst>
          </p:cNvPr>
          <p:cNvSpPr>
            <a:spLocks noGrp="1"/>
          </p:cNvSpPr>
          <p:nvPr>
            <p:ph sz="quarter" idx="56"/>
          </p:nvPr>
        </p:nvSpPr>
        <p:spPr>
          <a:xfrm>
            <a:off x="8113329" y="1878496"/>
            <a:ext cx="1472400" cy="50400"/>
          </a:xfrm>
          <a:solidFill>
            <a:schemeClr val="tx1"/>
          </a:solidFill>
        </p:spPr>
        <p:txBody>
          <a:bodyPr/>
          <a:lstStyle>
            <a:lvl1pPr>
              <a:defRPr>
                <a:noFill/>
              </a:defRPr>
            </a:lvl1pPr>
          </a:lstStyle>
          <a:p>
            <a:pPr lvl="0"/>
            <a:r>
              <a:rPr lang="en-US"/>
              <a:t>Click to edit Master text styles</a:t>
            </a:r>
          </a:p>
        </p:txBody>
      </p:sp>
      <p:sp>
        <p:nvSpPr>
          <p:cNvPr id="93" name="Content Placeholder 89">
            <a:extLst>
              <a:ext uri="{FF2B5EF4-FFF2-40B4-BE49-F238E27FC236}">
                <a16:creationId xmlns:a16="http://schemas.microsoft.com/office/drawing/2014/main" id="{EF54CCE9-01D8-9F2D-5A52-4FF4B7ADD2DE}"/>
              </a:ext>
            </a:extLst>
          </p:cNvPr>
          <p:cNvSpPr>
            <a:spLocks noGrp="1"/>
          </p:cNvSpPr>
          <p:nvPr>
            <p:ph sz="quarter" idx="57"/>
          </p:nvPr>
        </p:nvSpPr>
        <p:spPr>
          <a:xfrm>
            <a:off x="9838562" y="1878496"/>
            <a:ext cx="1472400" cy="50400"/>
          </a:xfrm>
          <a:solidFill>
            <a:schemeClr val="tx1"/>
          </a:solidFill>
        </p:spPr>
        <p:txBody>
          <a:bodyPr/>
          <a:lstStyle>
            <a:lvl1pPr>
              <a:defRPr>
                <a:noFill/>
              </a:defRPr>
            </a:lvl1pPr>
          </a:lstStyle>
          <a:p>
            <a:pPr lvl="0"/>
            <a:r>
              <a:rPr lang="en-US"/>
              <a:t>Click to edit Master text styles</a:t>
            </a:r>
          </a:p>
        </p:txBody>
      </p:sp>
      <p:sp>
        <p:nvSpPr>
          <p:cNvPr id="94" name="Content Placeholder 89">
            <a:extLst>
              <a:ext uri="{FF2B5EF4-FFF2-40B4-BE49-F238E27FC236}">
                <a16:creationId xmlns:a16="http://schemas.microsoft.com/office/drawing/2014/main" id="{88D9D213-C09E-9E24-C2E9-442B57281CEC}"/>
              </a:ext>
            </a:extLst>
          </p:cNvPr>
          <p:cNvSpPr>
            <a:spLocks noGrp="1"/>
          </p:cNvSpPr>
          <p:nvPr>
            <p:ph sz="quarter" idx="58"/>
          </p:nvPr>
        </p:nvSpPr>
        <p:spPr>
          <a:xfrm>
            <a:off x="4660044" y="3870987"/>
            <a:ext cx="1472400" cy="50400"/>
          </a:xfrm>
          <a:solidFill>
            <a:schemeClr val="tx1"/>
          </a:solidFill>
        </p:spPr>
        <p:txBody>
          <a:bodyPr/>
          <a:lstStyle>
            <a:lvl1pPr>
              <a:defRPr>
                <a:noFill/>
              </a:defRPr>
            </a:lvl1pPr>
          </a:lstStyle>
          <a:p>
            <a:pPr lvl="0"/>
            <a:r>
              <a:rPr lang="en-US"/>
              <a:t>Click to edit Master text styles</a:t>
            </a:r>
          </a:p>
        </p:txBody>
      </p:sp>
      <p:sp>
        <p:nvSpPr>
          <p:cNvPr id="95" name="Content Placeholder 89">
            <a:extLst>
              <a:ext uri="{FF2B5EF4-FFF2-40B4-BE49-F238E27FC236}">
                <a16:creationId xmlns:a16="http://schemas.microsoft.com/office/drawing/2014/main" id="{D61BC07B-E642-C1AF-C20B-2A34DB26E7AC}"/>
              </a:ext>
            </a:extLst>
          </p:cNvPr>
          <p:cNvSpPr>
            <a:spLocks noGrp="1"/>
          </p:cNvSpPr>
          <p:nvPr>
            <p:ph sz="quarter" idx="59"/>
          </p:nvPr>
        </p:nvSpPr>
        <p:spPr>
          <a:xfrm>
            <a:off x="6387391" y="3870987"/>
            <a:ext cx="1472400" cy="50400"/>
          </a:xfrm>
          <a:solidFill>
            <a:schemeClr val="tx1"/>
          </a:solidFill>
        </p:spPr>
        <p:txBody>
          <a:bodyPr/>
          <a:lstStyle>
            <a:lvl1pPr>
              <a:defRPr>
                <a:noFill/>
              </a:defRPr>
            </a:lvl1pPr>
          </a:lstStyle>
          <a:p>
            <a:pPr lvl="0"/>
            <a:r>
              <a:rPr lang="en-US"/>
              <a:t>Click to edit Master text styles</a:t>
            </a:r>
          </a:p>
        </p:txBody>
      </p:sp>
      <p:sp>
        <p:nvSpPr>
          <p:cNvPr id="96" name="Content Placeholder 89">
            <a:extLst>
              <a:ext uri="{FF2B5EF4-FFF2-40B4-BE49-F238E27FC236}">
                <a16:creationId xmlns:a16="http://schemas.microsoft.com/office/drawing/2014/main" id="{177A1023-2822-F04C-8B72-ACD45FE435A9}"/>
              </a:ext>
            </a:extLst>
          </p:cNvPr>
          <p:cNvSpPr>
            <a:spLocks noGrp="1"/>
          </p:cNvSpPr>
          <p:nvPr>
            <p:ph sz="quarter" idx="60"/>
          </p:nvPr>
        </p:nvSpPr>
        <p:spPr>
          <a:xfrm>
            <a:off x="8113329" y="3870987"/>
            <a:ext cx="1472400" cy="50400"/>
          </a:xfrm>
          <a:solidFill>
            <a:schemeClr val="tx1"/>
          </a:solidFill>
        </p:spPr>
        <p:txBody>
          <a:bodyPr/>
          <a:lstStyle>
            <a:lvl1pPr>
              <a:defRPr>
                <a:noFill/>
              </a:defRPr>
            </a:lvl1pPr>
          </a:lstStyle>
          <a:p>
            <a:pPr lvl="0"/>
            <a:r>
              <a:rPr lang="en-US"/>
              <a:t>Click to edit Master text styles</a:t>
            </a:r>
          </a:p>
        </p:txBody>
      </p:sp>
      <p:sp>
        <p:nvSpPr>
          <p:cNvPr id="97" name="Content Placeholder 89">
            <a:extLst>
              <a:ext uri="{FF2B5EF4-FFF2-40B4-BE49-F238E27FC236}">
                <a16:creationId xmlns:a16="http://schemas.microsoft.com/office/drawing/2014/main" id="{765F821C-8F41-F454-E171-07F7C149DC1B}"/>
              </a:ext>
            </a:extLst>
          </p:cNvPr>
          <p:cNvSpPr>
            <a:spLocks noGrp="1"/>
          </p:cNvSpPr>
          <p:nvPr>
            <p:ph sz="quarter" idx="61"/>
          </p:nvPr>
        </p:nvSpPr>
        <p:spPr>
          <a:xfrm>
            <a:off x="9838562" y="3870987"/>
            <a:ext cx="1472400" cy="50400"/>
          </a:xfrm>
          <a:solidFill>
            <a:schemeClr val="tx1"/>
          </a:solidFill>
        </p:spPr>
        <p:txBody>
          <a:bodyPr/>
          <a:lstStyle>
            <a:lvl1pPr>
              <a:defRPr>
                <a:noFill/>
              </a:defRPr>
            </a:lvl1pPr>
          </a:lstStyle>
          <a:p>
            <a:pPr lvl="0"/>
            <a:r>
              <a:rPr lang="en-US"/>
              <a:t>Click to edit Master text styles</a:t>
            </a:r>
          </a:p>
        </p:txBody>
      </p:sp>
      <p:sp>
        <p:nvSpPr>
          <p:cNvPr id="9" name="Text Placeholder 8">
            <a:extLst>
              <a:ext uri="{FF2B5EF4-FFF2-40B4-BE49-F238E27FC236}">
                <a16:creationId xmlns:a16="http://schemas.microsoft.com/office/drawing/2014/main" id="{5090BFD1-AB5B-C1C5-FC70-DB391FE1D5B2}"/>
              </a:ext>
            </a:extLst>
          </p:cNvPr>
          <p:cNvSpPr>
            <a:spLocks noGrp="1"/>
          </p:cNvSpPr>
          <p:nvPr>
            <p:ph type="body" sz="quarter" idx="62" hasCustomPrompt="1"/>
          </p:nvPr>
        </p:nvSpPr>
        <p:spPr>
          <a:xfrm>
            <a:off x="4659285" y="2686147"/>
            <a:ext cx="1526400" cy="777600"/>
          </a:xfrm>
        </p:spPr>
        <p:txBody>
          <a:bodyPr/>
          <a:lstStyle>
            <a:lvl1pPr>
              <a:defRPr/>
            </a:lvl1pPr>
            <a:lvl2pPr marL="0" indent="0">
              <a:buNone/>
              <a:defRPr/>
            </a:lvl2pPr>
          </a:lstStyle>
          <a:p>
            <a:pPr lvl="0"/>
            <a:r>
              <a:rPr lang="en-US"/>
              <a:t>Copy goes here</a:t>
            </a:r>
          </a:p>
        </p:txBody>
      </p:sp>
      <p:sp>
        <p:nvSpPr>
          <p:cNvPr id="13" name="Text Placeholder 12">
            <a:extLst>
              <a:ext uri="{FF2B5EF4-FFF2-40B4-BE49-F238E27FC236}">
                <a16:creationId xmlns:a16="http://schemas.microsoft.com/office/drawing/2014/main" id="{EA656FDC-BF17-2D98-7F26-14DCB00F8F22}"/>
              </a:ext>
            </a:extLst>
          </p:cNvPr>
          <p:cNvSpPr>
            <a:spLocks noGrp="1"/>
          </p:cNvSpPr>
          <p:nvPr>
            <p:ph type="body" sz="quarter" idx="63" hasCustomPrompt="1"/>
          </p:nvPr>
        </p:nvSpPr>
        <p:spPr>
          <a:xfrm>
            <a:off x="4660044" y="4663075"/>
            <a:ext cx="1526400" cy="777600"/>
          </a:xfrm>
        </p:spPr>
        <p:txBody>
          <a:bodyPr/>
          <a:lstStyle>
            <a:lvl1pPr>
              <a:defRPr/>
            </a:lvl1pPr>
            <a:lvl2pPr marL="0" indent="0">
              <a:buNone/>
              <a:defRPr/>
            </a:lvl2pPr>
          </a:lstStyle>
          <a:p>
            <a:pPr lvl="0"/>
            <a:r>
              <a:rPr lang="en-US"/>
              <a:t>Copy goes here</a:t>
            </a:r>
          </a:p>
        </p:txBody>
      </p:sp>
      <p:sp>
        <p:nvSpPr>
          <p:cNvPr id="15" name="Text Placeholder 8">
            <a:extLst>
              <a:ext uri="{FF2B5EF4-FFF2-40B4-BE49-F238E27FC236}">
                <a16:creationId xmlns:a16="http://schemas.microsoft.com/office/drawing/2014/main" id="{D674C88D-8479-29D2-890E-1567DEAD240C}"/>
              </a:ext>
            </a:extLst>
          </p:cNvPr>
          <p:cNvSpPr>
            <a:spLocks noGrp="1"/>
          </p:cNvSpPr>
          <p:nvPr>
            <p:ph type="body" sz="quarter" idx="64" hasCustomPrompt="1"/>
          </p:nvPr>
        </p:nvSpPr>
        <p:spPr>
          <a:xfrm>
            <a:off x="6384518" y="2686147"/>
            <a:ext cx="1526400" cy="777600"/>
          </a:xfrm>
        </p:spPr>
        <p:txBody>
          <a:bodyPr/>
          <a:lstStyle>
            <a:lvl1pPr>
              <a:defRPr/>
            </a:lvl1pPr>
            <a:lvl2pPr marL="0" indent="0">
              <a:buNone/>
              <a:defRPr/>
            </a:lvl2pPr>
          </a:lstStyle>
          <a:p>
            <a:pPr lvl="0"/>
            <a:r>
              <a:rPr lang="en-US"/>
              <a:t>Copy goes here</a:t>
            </a:r>
          </a:p>
        </p:txBody>
      </p:sp>
      <p:sp>
        <p:nvSpPr>
          <p:cNvPr id="17" name="Text Placeholder 12">
            <a:extLst>
              <a:ext uri="{FF2B5EF4-FFF2-40B4-BE49-F238E27FC236}">
                <a16:creationId xmlns:a16="http://schemas.microsoft.com/office/drawing/2014/main" id="{F6EE21BD-D81A-E2CC-C0F9-CCCB912100CC}"/>
              </a:ext>
            </a:extLst>
          </p:cNvPr>
          <p:cNvSpPr>
            <a:spLocks noGrp="1"/>
          </p:cNvSpPr>
          <p:nvPr>
            <p:ph type="body" sz="quarter" idx="65" hasCustomPrompt="1"/>
          </p:nvPr>
        </p:nvSpPr>
        <p:spPr>
          <a:xfrm>
            <a:off x="6385277" y="4663075"/>
            <a:ext cx="1526400" cy="777600"/>
          </a:xfrm>
        </p:spPr>
        <p:txBody>
          <a:bodyPr/>
          <a:lstStyle>
            <a:lvl1pPr>
              <a:defRPr/>
            </a:lvl1pPr>
            <a:lvl2pPr marL="0" indent="0">
              <a:buNone/>
              <a:defRPr/>
            </a:lvl2pPr>
          </a:lstStyle>
          <a:p>
            <a:pPr lvl="0"/>
            <a:r>
              <a:rPr lang="en-US"/>
              <a:t>Copy goes here</a:t>
            </a:r>
          </a:p>
        </p:txBody>
      </p:sp>
      <p:sp>
        <p:nvSpPr>
          <p:cNvPr id="19" name="Text Placeholder 8">
            <a:extLst>
              <a:ext uri="{FF2B5EF4-FFF2-40B4-BE49-F238E27FC236}">
                <a16:creationId xmlns:a16="http://schemas.microsoft.com/office/drawing/2014/main" id="{E2D1A61D-EDAA-660E-F079-B02609A4EC3B}"/>
              </a:ext>
            </a:extLst>
          </p:cNvPr>
          <p:cNvSpPr>
            <a:spLocks noGrp="1"/>
          </p:cNvSpPr>
          <p:nvPr>
            <p:ph type="body" sz="quarter" idx="66" hasCustomPrompt="1"/>
          </p:nvPr>
        </p:nvSpPr>
        <p:spPr>
          <a:xfrm>
            <a:off x="8113329" y="2686147"/>
            <a:ext cx="1526400" cy="777600"/>
          </a:xfrm>
        </p:spPr>
        <p:txBody>
          <a:bodyPr/>
          <a:lstStyle>
            <a:lvl1pPr>
              <a:defRPr/>
            </a:lvl1pPr>
            <a:lvl2pPr marL="0" indent="0">
              <a:buNone/>
              <a:defRPr/>
            </a:lvl2pPr>
          </a:lstStyle>
          <a:p>
            <a:pPr lvl="0"/>
            <a:r>
              <a:rPr lang="en-US"/>
              <a:t>Copy goes here</a:t>
            </a:r>
          </a:p>
        </p:txBody>
      </p:sp>
      <p:sp>
        <p:nvSpPr>
          <p:cNvPr id="21" name="Text Placeholder 12">
            <a:extLst>
              <a:ext uri="{FF2B5EF4-FFF2-40B4-BE49-F238E27FC236}">
                <a16:creationId xmlns:a16="http://schemas.microsoft.com/office/drawing/2014/main" id="{CB3D0EFC-C644-C05E-4436-AC47C1A8370C}"/>
              </a:ext>
            </a:extLst>
          </p:cNvPr>
          <p:cNvSpPr>
            <a:spLocks noGrp="1"/>
          </p:cNvSpPr>
          <p:nvPr>
            <p:ph type="body" sz="quarter" idx="67" hasCustomPrompt="1"/>
          </p:nvPr>
        </p:nvSpPr>
        <p:spPr>
          <a:xfrm>
            <a:off x="8113329" y="4663075"/>
            <a:ext cx="1526400" cy="777600"/>
          </a:xfrm>
        </p:spPr>
        <p:txBody>
          <a:bodyPr/>
          <a:lstStyle>
            <a:lvl1pPr>
              <a:defRPr/>
            </a:lvl1pPr>
            <a:lvl2pPr marL="0" indent="0">
              <a:buNone/>
              <a:defRPr/>
            </a:lvl2pPr>
          </a:lstStyle>
          <a:p>
            <a:pPr lvl="0"/>
            <a:r>
              <a:rPr lang="en-US"/>
              <a:t>Copy goes here</a:t>
            </a:r>
          </a:p>
        </p:txBody>
      </p:sp>
      <p:sp>
        <p:nvSpPr>
          <p:cNvPr id="23" name="Text Placeholder 8">
            <a:extLst>
              <a:ext uri="{FF2B5EF4-FFF2-40B4-BE49-F238E27FC236}">
                <a16:creationId xmlns:a16="http://schemas.microsoft.com/office/drawing/2014/main" id="{BC79567C-BB13-5D0B-B61D-F438DB2687A9}"/>
              </a:ext>
            </a:extLst>
          </p:cNvPr>
          <p:cNvSpPr>
            <a:spLocks noGrp="1"/>
          </p:cNvSpPr>
          <p:nvPr>
            <p:ph type="body" sz="quarter" idx="68" hasCustomPrompt="1"/>
          </p:nvPr>
        </p:nvSpPr>
        <p:spPr>
          <a:xfrm>
            <a:off x="9838562" y="2686147"/>
            <a:ext cx="1526400" cy="777600"/>
          </a:xfrm>
        </p:spPr>
        <p:txBody>
          <a:bodyPr/>
          <a:lstStyle>
            <a:lvl1pPr>
              <a:defRPr/>
            </a:lvl1pPr>
            <a:lvl2pPr marL="0" indent="0">
              <a:buNone/>
              <a:defRPr/>
            </a:lvl2pPr>
          </a:lstStyle>
          <a:p>
            <a:pPr lvl="0"/>
            <a:r>
              <a:rPr lang="en-US"/>
              <a:t>Copy goes here</a:t>
            </a:r>
          </a:p>
        </p:txBody>
      </p:sp>
      <p:sp>
        <p:nvSpPr>
          <p:cNvPr id="24" name="Text Placeholder 12">
            <a:extLst>
              <a:ext uri="{FF2B5EF4-FFF2-40B4-BE49-F238E27FC236}">
                <a16:creationId xmlns:a16="http://schemas.microsoft.com/office/drawing/2014/main" id="{F210F0D3-90EA-E0EC-FE8E-82106429DBB6}"/>
              </a:ext>
            </a:extLst>
          </p:cNvPr>
          <p:cNvSpPr>
            <a:spLocks noGrp="1"/>
          </p:cNvSpPr>
          <p:nvPr>
            <p:ph type="body" sz="quarter" idx="69" hasCustomPrompt="1"/>
          </p:nvPr>
        </p:nvSpPr>
        <p:spPr>
          <a:xfrm>
            <a:off x="9838562" y="4663075"/>
            <a:ext cx="1526400" cy="777600"/>
          </a:xfrm>
        </p:spPr>
        <p:txBody>
          <a:bodyPr/>
          <a:lstStyle>
            <a:lvl1pPr>
              <a:defRPr/>
            </a:lvl1pPr>
            <a:lvl2pPr marL="0" indent="0">
              <a:buNone/>
              <a:defRPr/>
            </a:lvl2pPr>
          </a:lstStyle>
          <a:p>
            <a:pPr lvl="0"/>
            <a:r>
              <a:rPr lang="en-US"/>
              <a:t>Copy goes here</a:t>
            </a:r>
          </a:p>
        </p:txBody>
      </p:sp>
    </p:spTree>
    <p:extLst>
      <p:ext uri="{BB962C8B-B14F-4D97-AF65-F5344CB8AC3E}">
        <p14:creationId xmlns:p14="http://schemas.microsoft.com/office/powerpoint/2010/main" val="32821711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9" name="Content Placeholder 8">
            <a:extLst>
              <a:ext uri="{FF2B5EF4-FFF2-40B4-BE49-F238E27FC236}">
                <a16:creationId xmlns:a16="http://schemas.microsoft.com/office/drawing/2014/main" id="{4CB8EBF9-4B8F-D552-2733-EB3B04A2601C}"/>
              </a:ext>
            </a:extLst>
          </p:cNvPr>
          <p:cNvSpPr>
            <a:spLocks noGrp="1"/>
          </p:cNvSpPr>
          <p:nvPr>
            <p:ph sz="quarter" idx="14"/>
          </p:nvPr>
        </p:nvSpPr>
        <p:spPr>
          <a:xfrm>
            <a:off x="479425" y="2097087"/>
            <a:ext cx="11233150" cy="3795713"/>
          </a:xfrm>
          <a:custGeom>
            <a:avLst/>
            <a:gdLst>
              <a:gd name="connsiteX0" fmla="*/ 0 w 11233150"/>
              <a:gd name="connsiteY0" fmla="*/ 0 h 3795713"/>
              <a:gd name="connsiteX1" fmla="*/ 11233150 w 11233150"/>
              <a:gd name="connsiteY1" fmla="*/ 0 h 3795713"/>
              <a:gd name="connsiteX2" fmla="*/ 11233150 w 11233150"/>
              <a:gd name="connsiteY2" fmla="*/ 3795713 h 3795713"/>
              <a:gd name="connsiteX3" fmla="*/ 0 w 1123315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11233150" h="3795713">
                <a:moveTo>
                  <a:pt x="0" y="0"/>
                </a:moveTo>
                <a:lnTo>
                  <a:pt x="11233150" y="0"/>
                </a:lnTo>
                <a:lnTo>
                  <a:pt x="1123315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Title 6">
            <a:extLst>
              <a:ext uri="{FF2B5EF4-FFF2-40B4-BE49-F238E27FC236}">
                <a16:creationId xmlns:a16="http://schemas.microsoft.com/office/drawing/2014/main" id="{392D8EC4-AB42-07E9-61BB-702464BAE1E9}"/>
              </a:ext>
            </a:extLst>
          </p:cNvPr>
          <p:cNvSpPr>
            <a:spLocks noGrp="1"/>
          </p:cNvSpPr>
          <p:nvPr>
            <p:ph type="title"/>
          </p:nvPr>
        </p:nvSpPr>
        <p:spPr/>
        <p:txBody>
          <a:bodyPr/>
          <a:lstStyle/>
          <a:p>
            <a:r>
              <a:rPr lang="en-US"/>
              <a:t>Click to edit Master title style</a:t>
            </a:r>
            <a:endParaRPr lang="en-GB"/>
          </a:p>
        </p:txBody>
      </p:sp>
      <p:sp>
        <p:nvSpPr>
          <p:cNvPr id="10" name="Footer Placeholder 4">
            <a:extLst>
              <a:ext uri="{FF2B5EF4-FFF2-40B4-BE49-F238E27FC236}">
                <a16:creationId xmlns:a16="http://schemas.microsoft.com/office/drawing/2014/main" id="{37876B25-D08B-4AD7-D5E0-3BDD016436CD}"/>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78397021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6" name="Title 5">
            <a:extLst>
              <a:ext uri="{FF2B5EF4-FFF2-40B4-BE49-F238E27FC236}">
                <a16:creationId xmlns:a16="http://schemas.microsoft.com/office/drawing/2014/main" id="{B6BFDE06-550D-8511-74E2-ABBE9E6CFA7F}"/>
              </a:ext>
            </a:extLst>
          </p:cNvPr>
          <p:cNvSpPr>
            <a:spLocks noGrp="1"/>
          </p:cNvSpPr>
          <p:nvPr>
            <p:ph type="title"/>
          </p:nvPr>
        </p:nvSpPr>
        <p:spPr/>
        <p:txBody>
          <a:bodyPr/>
          <a:lstStyle/>
          <a:p>
            <a:r>
              <a:rPr lang="en-US"/>
              <a:t>Click to edit Master title style</a:t>
            </a:r>
            <a:endParaRPr lang="en-AU"/>
          </a:p>
        </p:txBody>
      </p:sp>
      <p:sp>
        <p:nvSpPr>
          <p:cNvPr id="3" name="Footer Placeholder 4">
            <a:extLst>
              <a:ext uri="{FF2B5EF4-FFF2-40B4-BE49-F238E27FC236}">
                <a16:creationId xmlns:a16="http://schemas.microsoft.com/office/drawing/2014/main" id="{A9D6F6F7-AC4E-6852-C1BE-194E60297AFE}"/>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06894237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CB8EBF9-4B8F-D552-2733-EB3B04A2601C}"/>
              </a:ext>
            </a:extLst>
          </p:cNvPr>
          <p:cNvSpPr>
            <a:spLocks noGrp="1"/>
          </p:cNvSpPr>
          <p:nvPr>
            <p:ph sz="quarter" idx="14"/>
          </p:nvPr>
        </p:nvSpPr>
        <p:spPr>
          <a:xfrm>
            <a:off x="479425" y="1484785"/>
            <a:ext cx="11233150" cy="4408016"/>
          </a:xfrm>
          <a:custGeom>
            <a:avLst/>
            <a:gdLst>
              <a:gd name="connsiteX0" fmla="*/ 0 w 11233150"/>
              <a:gd name="connsiteY0" fmla="*/ 0 h 3795713"/>
              <a:gd name="connsiteX1" fmla="*/ 11233150 w 11233150"/>
              <a:gd name="connsiteY1" fmla="*/ 0 h 3795713"/>
              <a:gd name="connsiteX2" fmla="*/ 11233150 w 11233150"/>
              <a:gd name="connsiteY2" fmla="*/ 3795713 h 3795713"/>
              <a:gd name="connsiteX3" fmla="*/ 0 w 1123315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11233150" h="3795713">
                <a:moveTo>
                  <a:pt x="0" y="0"/>
                </a:moveTo>
                <a:lnTo>
                  <a:pt x="11233150" y="0"/>
                </a:lnTo>
                <a:lnTo>
                  <a:pt x="1123315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6" name="Title 5">
            <a:extLst>
              <a:ext uri="{FF2B5EF4-FFF2-40B4-BE49-F238E27FC236}">
                <a16:creationId xmlns:a16="http://schemas.microsoft.com/office/drawing/2014/main" id="{B6BFDE06-550D-8511-74E2-ABBE9E6CFA7F}"/>
              </a:ext>
            </a:extLst>
          </p:cNvPr>
          <p:cNvSpPr>
            <a:spLocks noGrp="1"/>
          </p:cNvSpPr>
          <p:nvPr>
            <p:ph type="title"/>
          </p:nvPr>
        </p:nvSpPr>
        <p:spPr/>
        <p:txBody>
          <a:bodyPr/>
          <a:lstStyle/>
          <a:p>
            <a:r>
              <a:rPr lang="en-US"/>
              <a:t>Click to edit Master title style</a:t>
            </a:r>
            <a:endParaRPr lang="en-AU"/>
          </a:p>
        </p:txBody>
      </p:sp>
      <p:sp>
        <p:nvSpPr>
          <p:cNvPr id="3" name="Footer Placeholder 4">
            <a:extLst>
              <a:ext uri="{FF2B5EF4-FFF2-40B4-BE49-F238E27FC236}">
                <a16:creationId xmlns:a16="http://schemas.microsoft.com/office/drawing/2014/main" id="{290DBB55-66DE-2469-744D-4FD91747388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0364390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3" name="Title 2">
            <a:extLst>
              <a:ext uri="{FF2B5EF4-FFF2-40B4-BE49-F238E27FC236}">
                <a16:creationId xmlns:a16="http://schemas.microsoft.com/office/drawing/2014/main" id="{7F2B2CA1-BAF4-65C8-ACF4-C872BF9B8268}"/>
              </a:ext>
            </a:extLst>
          </p:cNvPr>
          <p:cNvSpPr>
            <a:spLocks noGrp="1"/>
          </p:cNvSpPr>
          <p:nvPr>
            <p:ph type="title"/>
          </p:nvPr>
        </p:nvSpPr>
        <p:spPr/>
        <p:txBody>
          <a:bodyPr/>
          <a:lstStyle/>
          <a:p>
            <a:r>
              <a:rPr lang="en-US"/>
              <a:t>Click to edit Master title style</a:t>
            </a:r>
            <a:endParaRPr lang="en-AU"/>
          </a:p>
        </p:txBody>
      </p:sp>
      <p:sp>
        <p:nvSpPr>
          <p:cNvPr id="12" name="Text Placeholder 11">
            <a:extLst>
              <a:ext uri="{FF2B5EF4-FFF2-40B4-BE49-F238E27FC236}">
                <a16:creationId xmlns:a16="http://schemas.microsoft.com/office/drawing/2014/main" id="{4C4FB1A4-37C4-860F-23B7-D3596BCD78E0}"/>
              </a:ext>
            </a:extLst>
          </p:cNvPr>
          <p:cNvSpPr>
            <a:spLocks noGrp="1"/>
          </p:cNvSpPr>
          <p:nvPr>
            <p:ph type="body" sz="quarter" idx="16"/>
          </p:nvPr>
        </p:nvSpPr>
        <p:spPr>
          <a:xfrm>
            <a:off x="479425" y="2097088"/>
            <a:ext cx="5295900" cy="3795712"/>
          </a:xfrm>
          <a:custGeom>
            <a:avLst/>
            <a:gdLst>
              <a:gd name="connsiteX0" fmla="*/ 0 w 5295900"/>
              <a:gd name="connsiteY0" fmla="*/ 0 h 3795712"/>
              <a:gd name="connsiteX1" fmla="*/ 5295900 w 5295900"/>
              <a:gd name="connsiteY1" fmla="*/ 0 h 3795712"/>
              <a:gd name="connsiteX2" fmla="*/ 5295900 w 5295900"/>
              <a:gd name="connsiteY2" fmla="*/ 3795712 h 3795712"/>
              <a:gd name="connsiteX3" fmla="*/ 0 w 52959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5295900" h="3795712">
                <a:moveTo>
                  <a:pt x="0" y="0"/>
                </a:moveTo>
                <a:lnTo>
                  <a:pt x="5295900" y="0"/>
                </a:lnTo>
                <a:lnTo>
                  <a:pt x="52959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615497FE-3487-B972-4238-EDAAD48A20DC}"/>
              </a:ext>
            </a:extLst>
          </p:cNvPr>
          <p:cNvSpPr>
            <a:spLocks noGrp="1"/>
          </p:cNvSpPr>
          <p:nvPr>
            <p:ph sz="quarter" idx="17"/>
          </p:nvPr>
        </p:nvSpPr>
        <p:spPr>
          <a:xfrm>
            <a:off x="6416676" y="2097087"/>
            <a:ext cx="5295900" cy="3795713"/>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285750" indent="-285750">
              <a:spcAft>
                <a:spcPts val="600"/>
              </a:spcAft>
              <a:buFont typeface="Arial" panose="020B0604020202020204" pitchFamily="34" charset="0"/>
              <a:buChar char="•"/>
              <a:defRPr/>
            </a:lvl2pPr>
            <a:lvl3pPr marL="466113" indent="-28575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4">
            <a:extLst>
              <a:ext uri="{FF2B5EF4-FFF2-40B4-BE49-F238E27FC236}">
                <a16:creationId xmlns:a16="http://schemas.microsoft.com/office/drawing/2014/main" id="{9848465D-F6FA-B242-2B57-7E8BF5D7893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291060119"/>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3" name="Title 2">
            <a:extLst>
              <a:ext uri="{FF2B5EF4-FFF2-40B4-BE49-F238E27FC236}">
                <a16:creationId xmlns:a16="http://schemas.microsoft.com/office/drawing/2014/main" id="{7F2B2CA1-BAF4-65C8-ACF4-C872BF9B8268}"/>
              </a:ext>
            </a:extLst>
          </p:cNvPr>
          <p:cNvSpPr>
            <a:spLocks noGrp="1"/>
          </p:cNvSpPr>
          <p:nvPr>
            <p:ph type="title"/>
          </p:nvPr>
        </p:nvSpPr>
        <p:spPr/>
        <p:txBody>
          <a:bodyPr/>
          <a:lstStyle/>
          <a:p>
            <a:r>
              <a:rPr lang="en-US"/>
              <a:t>Click to edit Master title style</a:t>
            </a:r>
            <a:endParaRPr lang="en-AU"/>
          </a:p>
        </p:txBody>
      </p:sp>
      <p:sp>
        <p:nvSpPr>
          <p:cNvPr id="12" name="Text Placeholder 11">
            <a:extLst>
              <a:ext uri="{FF2B5EF4-FFF2-40B4-BE49-F238E27FC236}">
                <a16:creationId xmlns:a16="http://schemas.microsoft.com/office/drawing/2014/main" id="{4C4FB1A4-37C4-860F-23B7-D3596BCD78E0}"/>
              </a:ext>
            </a:extLst>
          </p:cNvPr>
          <p:cNvSpPr>
            <a:spLocks noGrp="1"/>
          </p:cNvSpPr>
          <p:nvPr>
            <p:ph type="body" sz="quarter" idx="16"/>
          </p:nvPr>
        </p:nvSpPr>
        <p:spPr>
          <a:xfrm>
            <a:off x="479425" y="1484785"/>
            <a:ext cx="5295900" cy="4408015"/>
          </a:xfrm>
          <a:custGeom>
            <a:avLst/>
            <a:gdLst>
              <a:gd name="connsiteX0" fmla="*/ 0 w 5295900"/>
              <a:gd name="connsiteY0" fmla="*/ 0 h 3795712"/>
              <a:gd name="connsiteX1" fmla="*/ 5295900 w 5295900"/>
              <a:gd name="connsiteY1" fmla="*/ 0 h 3795712"/>
              <a:gd name="connsiteX2" fmla="*/ 5295900 w 5295900"/>
              <a:gd name="connsiteY2" fmla="*/ 3795712 h 3795712"/>
              <a:gd name="connsiteX3" fmla="*/ 0 w 52959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5295900" h="3795712">
                <a:moveTo>
                  <a:pt x="0" y="0"/>
                </a:moveTo>
                <a:lnTo>
                  <a:pt x="5295900" y="0"/>
                </a:lnTo>
                <a:lnTo>
                  <a:pt x="52959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615497FE-3487-B972-4238-EDAAD48A20DC}"/>
              </a:ext>
            </a:extLst>
          </p:cNvPr>
          <p:cNvSpPr>
            <a:spLocks noGrp="1"/>
          </p:cNvSpPr>
          <p:nvPr>
            <p:ph sz="quarter" idx="17"/>
          </p:nvPr>
        </p:nvSpPr>
        <p:spPr>
          <a:xfrm>
            <a:off x="6416676" y="1484785"/>
            <a:ext cx="5295900" cy="4408016"/>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285750" indent="-285750">
              <a:spcAft>
                <a:spcPts val="600"/>
              </a:spcAft>
              <a:buFont typeface="Arial" panose="020B0604020202020204" pitchFamily="34" charset="0"/>
              <a:buChar char="•"/>
              <a:defRPr/>
            </a:lvl2pPr>
            <a:lvl3pPr marL="466113" indent="-28575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4">
            <a:extLst>
              <a:ext uri="{FF2B5EF4-FFF2-40B4-BE49-F238E27FC236}">
                <a16:creationId xmlns:a16="http://schemas.microsoft.com/office/drawing/2014/main" id="{03AD9040-6DB1-9B29-64E3-AE2ED9B8E7BC}"/>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447373919"/>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_highlight">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63EC68C0-46E7-A4FF-BF83-4645F7176A37}"/>
              </a:ext>
            </a:extLst>
          </p:cNvPr>
          <p:cNvSpPr>
            <a:spLocks noGrp="1"/>
          </p:cNvSpPr>
          <p:nvPr>
            <p:ph type="body" sz="quarter" idx="17" hasCustomPrompt="1"/>
          </p:nvPr>
        </p:nvSpPr>
        <p:spPr>
          <a:xfrm>
            <a:off x="6101081" y="138818"/>
            <a:ext cx="6090919" cy="6719182"/>
          </a:xfrm>
          <a:solidFill>
            <a:schemeClr val="accent5"/>
          </a:solidFill>
          <a:ln w="662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AU" sz="1800" dirty="0">
                <a:latin typeface="+mn-lt"/>
              </a:defRPr>
            </a:lvl1pPr>
          </a:lstStyle>
          <a:p>
            <a:pPr lvl="0"/>
            <a:r>
              <a:rPr lang="en-US"/>
              <a:t> </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5308090" cy="297717"/>
          </a:xfrm>
        </p:spPr>
        <p:txBody>
          <a:bodyPr/>
          <a:lstStyle>
            <a:lvl1pPr>
              <a:defRPr sz="1800">
                <a:solidFill>
                  <a:schemeClr val="accent1"/>
                </a:solidFill>
              </a:defRPr>
            </a:lvl1pPr>
          </a:lstStyle>
          <a:p>
            <a:pPr lvl="0"/>
            <a:r>
              <a:rPr lang="en-US"/>
              <a:t>Subheading Goes Here</a:t>
            </a:r>
            <a:endParaRPr lang="en-AU"/>
          </a:p>
        </p:txBody>
      </p:sp>
      <p:sp>
        <p:nvSpPr>
          <p:cNvPr id="7" name="Content Placeholder 2">
            <a:extLst>
              <a:ext uri="{FF2B5EF4-FFF2-40B4-BE49-F238E27FC236}">
                <a16:creationId xmlns:a16="http://schemas.microsoft.com/office/drawing/2014/main" id="{2B64587C-2E43-ACCB-79A5-5A1F25BB4D10}"/>
              </a:ext>
            </a:extLst>
          </p:cNvPr>
          <p:cNvSpPr>
            <a:spLocks noGrp="1"/>
          </p:cNvSpPr>
          <p:nvPr>
            <p:ph idx="14"/>
          </p:nvPr>
        </p:nvSpPr>
        <p:spPr>
          <a:xfrm>
            <a:off x="6416676" y="589281"/>
            <a:ext cx="5295900" cy="5303520"/>
          </a:xfrm>
        </p:spPr>
        <p:txBody>
          <a:bodyPr/>
          <a:lstStyle>
            <a:lvl1pPr>
              <a:spcAft>
                <a:spcPts val="1800"/>
              </a:spcAft>
              <a:defRPr>
                <a:solidFill>
                  <a:schemeClr val="bg1"/>
                </a:solidFill>
              </a:defRPr>
            </a:lvl1pPr>
            <a:lvl2pPr marL="179388" indent="-179388">
              <a:spcAft>
                <a:spcPts val="600"/>
              </a:spcAft>
              <a:buClrTx/>
              <a:buFont typeface="Arial" panose="020B0604020202020204" pitchFamily="34" charset="0"/>
              <a:buChar char="•"/>
              <a:tabLst>
                <a:tab pos="179388" algn="l"/>
              </a:tabLst>
              <a:defRPr sz="1400">
                <a:solidFill>
                  <a:schemeClr val="bg1"/>
                </a:solidFill>
              </a:defRPr>
            </a:lvl2pPr>
            <a:lvl3pPr marL="358775" indent="-179388">
              <a:spcBef>
                <a:spcPts val="600"/>
              </a:spcBef>
              <a:spcAft>
                <a:spcPts val="600"/>
              </a:spcAft>
              <a:buFont typeface="Arial" panose="020B0604020202020204" pitchFamily="34" charset="0"/>
              <a:buChar char="•"/>
              <a:tabLst>
                <a:tab pos="360363" algn="l"/>
              </a:tabLst>
              <a:defRPr>
                <a:solidFill>
                  <a:schemeClr val="bg1"/>
                </a:solidFill>
              </a:defRPr>
            </a:lvl3pPr>
            <a:lvl4pPr marL="0" indent="0">
              <a:spcBef>
                <a:spcPts val="1800"/>
              </a:spcBef>
              <a:spcAft>
                <a:spcPts val="600"/>
              </a:spcAft>
              <a:buNone/>
              <a:defRPr sz="1200">
                <a:solidFill>
                  <a:schemeClr val="bg1"/>
                </a:solidFill>
              </a:defRPr>
            </a:lvl4pPr>
            <a:lvl5pPr>
              <a:spcAft>
                <a:spcPts val="6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5">
            <a:extLst>
              <a:ext uri="{FF2B5EF4-FFF2-40B4-BE49-F238E27FC236}">
                <a16:creationId xmlns:a16="http://schemas.microsoft.com/office/drawing/2014/main" id="{4A0098F8-8214-FB2B-807B-D0C95BA1B132}"/>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10" name="Title 9">
            <a:extLst>
              <a:ext uri="{FF2B5EF4-FFF2-40B4-BE49-F238E27FC236}">
                <a16:creationId xmlns:a16="http://schemas.microsoft.com/office/drawing/2014/main" id="{397A97F0-0C61-0E4C-6F6A-7B155B056F31}"/>
              </a:ext>
            </a:extLst>
          </p:cNvPr>
          <p:cNvSpPr>
            <a:spLocks noGrp="1"/>
          </p:cNvSpPr>
          <p:nvPr>
            <p:ph type="title"/>
          </p:nvPr>
        </p:nvSpPr>
        <p:spPr>
          <a:xfrm>
            <a:off x="479425" y="604203"/>
            <a:ext cx="5295900" cy="746695"/>
          </a:xfrm>
        </p:spPr>
        <p:txBody>
          <a:bodyPr/>
          <a:lstStyle/>
          <a:p>
            <a:r>
              <a:rPr lang="en-US"/>
              <a:t>Click to edit Master title style</a:t>
            </a:r>
            <a:endParaRPr lang="en-AU"/>
          </a:p>
        </p:txBody>
      </p:sp>
      <p:sp>
        <p:nvSpPr>
          <p:cNvPr id="12" name="Content Placeholder 11">
            <a:extLst>
              <a:ext uri="{FF2B5EF4-FFF2-40B4-BE49-F238E27FC236}">
                <a16:creationId xmlns:a16="http://schemas.microsoft.com/office/drawing/2014/main" id="{615E8371-8188-CFE3-3256-1209765FA7B4}"/>
              </a:ext>
            </a:extLst>
          </p:cNvPr>
          <p:cNvSpPr>
            <a:spLocks noGrp="1"/>
          </p:cNvSpPr>
          <p:nvPr>
            <p:ph sz="quarter" idx="36"/>
          </p:nvPr>
        </p:nvSpPr>
        <p:spPr>
          <a:xfrm>
            <a:off x="479425" y="2097087"/>
            <a:ext cx="5295900" cy="3795713"/>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4">
            <a:extLst>
              <a:ext uri="{FF2B5EF4-FFF2-40B4-BE49-F238E27FC236}">
                <a16:creationId xmlns:a16="http://schemas.microsoft.com/office/drawing/2014/main" id="{6E5498F7-6D29-381C-8A17-C3443BDAE25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996620263"/>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olumn_highlight">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15E8371-8188-CFE3-3256-1209765FA7B4}"/>
              </a:ext>
            </a:extLst>
          </p:cNvPr>
          <p:cNvSpPr>
            <a:spLocks noGrp="1"/>
          </p:cNvSpPr>
          <p:nvPr>
            <p:ph sz="quarter" idx="36"/>
          </p:nvPr>
        </p:nvSpPr>
        <p:spPr>
          <a:xfrm>
            <a:off x="479425" y="1484785"/>
            <a:ext cx="5295900" cy="4408016"/>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ext Placeholder 9">
            <a:extLst>
              <a:ext uri="{FF2B5EF4-FFF2-40B4-BE49-F238E27FC236}">
                <a16:creationId xmlns:a16="http://schemas.microsoft.com/office/drawing/2014/main" id="{63EC68C0-46E7-A4FF-BF83-4645F7176A37}"/>
              </a:ext>
            </a:extLst>
          </p:cNvPr>
          <p:cNvSpPr>
            <a:spLocks noGrp="1"/>
          </p:cNvSpPr>
          <p:nvPr>
            <p:ph type="body" sz="quarter" idx="17" hasCustomPrompt="1"/>
          </p:nvPr>
        </p:nvSpPr>
        <p:spPr>
          <a:xfrm>
            <a:off x="6101081" y="138818"/>
            <a:ext cx="6090919" cy="6719182"/>
          </a:xfrm>
          <a:solidFill>
            <a:schemeClr val="accent1"/>
          </a:solidFill>
          <a:ln w="662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AU" sz="1800" dirty="0">
                <a:latin typeface="+mn-lt"/>
              </a:defRPr>
            </a:lvl1pPr>
          </a:lstStyle>
          <a:p>
            <a:pPr lvl="0"/>
            <a:r>
              <a:rPr lang="en-US"/>
              <a:t> </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7" name="Content Placeholder 2">
            <a:extLst>
              <a:ext uri="{FF2B5EF4-FFF2-40B4-BE49-F238E27FC236}">
                <a16:creationId xmlns:a16="http://schemas.microsoft.com/office/drawing/2014/main" id="{2B64587C-2E43-ACCB-79A5-5A1F25BB4D10}"/>
              </a:ext>
            </a:extLst>
          </p:cNvPr>
          <p:cNvSpPr>
            <a:spLocks noGrp="1"/>
          </p:cNvSpPr>
          <p:nvPr>
            <p:ph idx="14"/>
          </p:nvPr>
        </p:nvSpPr>
        <p:spPr>
          <a:xfrm>
            <a:off x="6416676" y="589281"/>
            <a:ext cx="5295900" cy="5303520"/>
          </a:xfrm>
        </p:spPr>
        <p:txBody>
          <a:bodyPr/>
          <a:lstStyle>
            <a:lvl1pPr>
              <a:spcAft>
                <a:spcPts val="1800"/>
              </a:spcAft>
              <a:defRPr>
                <a:solidFill>
                  <a:schemeClr val="bg1"/>
                </a:solidFill>
              </a:defRPr>
            </a:lvl1pPr>
            <a:lvl2pPr marL="179388" indent="-179388">
              <a:spcAft>
                <a:spcPts val="600"/>
              </a:spcAft>
              <a:buClrTx/>
              <a:buFont typeface="Arial" panose="020B0604020202020204" pitchFamily="34" charset="0"/>
              <a:buChar char="•"/>
              <a:tabLst>
                <a:tab pos="179388" algn="l"/>
              </a:tabLst>
              <a:defRPr sz="1400">
                <a:solidFill>
                  <a:schemeClr val="bg1"/>
                </a:solidFill>
              </a:defRPr>
            </a:lvl2pPr>
            <a:lvl3pPr marL="358775" indent="-179388">
              <a:spcBef>
                <a:spcPts val="600"/>
              </a:spcBef>
              <a:spcAft>
                <a:spcPts val="600"/>
              </a:spcAft>
              <a:buFont typeface="Arial" panose="020B0604020202020204" pitchFamily="34" charset="0"/>
              <a:buChar char="•"/>
              <a:tabLst>
                <a:tab pos="360363" algn="l"/>
              </a:tabLst>
              <a:defRPr>
                <a:solidFill>
                  <a:schemeClr val="bg1"/>
                </a:solidFill>
              </a:defRPr>
            </a:lvl3pPr>
            <a:lvl4pPr marL="0" indent="0">
              <a:spcBef>
                <a:spcPts val="1800"/>
              </a:spcBef>
              <a:spcAft>
                <a:spcPts val="600"/>
              </a:spcAft>
              <a:buNone/>
              <a:defRPr sz="1200">
                <a:solidFill>
                  <a:schemeClr val="bg1"/>
                </a:solidFill>
              </a:defRPr>
            </a:lvl4pPr>
            <a:lvl5pPr>
              <a:spcAft>
                <a:spcPts val="6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5">
            <a:extLst>
              <a:ext uri="{FF2B5EF4-FFF2-40B4-BE49-F238E27FC236}">
                <a16:creationId xmlns:a16="http://schemas.microsoft.com/office/drawing/2014/main" id="{4A0098F8-8214-FB2B-807B-D0C95BA1B132}"/>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10" name="Title 9">
            <a:extLst>
              <a:ext uri="{FF2B5EF4-FFF2-40B4-BE49-F238E27FC236}">
                <a16:creationId xmlns:a16="http://schemas.microsoft.com/office/drawing/2014/main" id="{397A97F0-0C61-0E4C-6F6A-7B155B056F31}"/>
              </a:ext>
            </a:extLst>
          </p:cNvPr>
          <p:cNvSpPr>
            <a:spLocks noGrp="1"/>
          </p:cNvSpPr>
          <p:nvPr>
            <p:ph type="title"/>
          </p:nvPr>
        </p:nvSpPr>
        <p:spPr>
          <a:xfrm>
            <a:off x="479425" y="604203"/>
            <a:ext cx="5295900" cy="746695"/>
          </a:xfrm>
        </p:spPr>
        <p:txBody>
          <a:bodyPr/>
          <a:lstStyle/>
          <a:p>
            <a:r>
              <a:rPr lang="en-US"/>
              <a:t>Click to edit Master title style</a:t>
            </a:r>
            <a:endParaRPr lang="en-AU"/>
          </a:p>
        </p:txBody>
      </p:sp>
      <p:sp>
        <p:nvSpPr>
          <p:cNvPr id="4" name="Footer Placeholder 4">
            <a:extLst>
              <a:ext uri="{FF2B5EF4-FFF2-40B4-BE49-F238E27FC236}">
                <a16:creationId xmlns:a16="http://schemas.microsoft.com/office/drawing/2014/main" id="{57351FB5-E4FA-8647-CE71-D6A7989F37AF}"/>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58299966"/>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_option 1">
    <p:bg>
      <p:bgPr>
        <a:solidFill>
          <a:schemeClr val="bg1"/>
        </a:solidFill>
        <a:effectLst/>
      </p:bgPr>
    </p:bg>
    <p:spTree>
      <p:nvGrpSpPr>
        <p:cNvPr id="1" name=""/>
        <p:cNvGrpSpPr/>
        <p:nvPr/>
      </p:nvGrpSpPr>
      <p:grpSpPr>
        <a:xfrm>
          <a:off x="0" y="0"/>
          <a:ext cx="0" cy="0"/>
          <a:chOff x="0" y="0"/>
          <a:chExt cx="0" cy="0"/>
        </a:xfrm>
      </p:grpSpPr>
      <p:sp>
        <p:nvSpPr>
          <p:cNvPr id="22" name="Text Placeholder 20">
            <a:extLst>
              <a:ext uri="{FF2B5EF4-FFF2-40B4-BE49-F238E27FC236}">
                <a16:creationId xmlns:a16="http://schemas.microsoft.com/office/drawing/2014/main" id="{4B42CF76-F68F-828A-D6D6-C74F7C2ACDD2}"/>
              </a:ext>
            </a:extLst>
          </p:cNvPr>
          <p:cNvSpPr>
            <a:spLocks noGrp="1"/>
          </p:cNvSpPr>
          <p:nvPr>
            <p:ph type="body" sz="quarter" idx="35" hasCustomPrompt="1"/>
          </p:nvPr>
        </p:nvSpPr>
        <p:spPr>
          <a:xfrm>
            <a:off x="544194" y="1804843"/>
            <a:ext cx="11044800" cy="385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3" name="Title 1">
            <a:extLst>
              <a:ext uri="{FF2B5EF4-FFF2-40B4-BE49-F238E27FC236}">
                <a16:creationId xmlns:a16="http://schemas.microsoft.com/office/drawing/2014/main" id="{EDB2E5A9-6008-5D15-CCB3-43F22C75BDC1}"/>
              </a:ext>
            </a:extLst>
          </p:cNvPr>
          <p:cNvSpPr>
            <a:spLocks noGrp="1"/>
          </p:cNvSpPr>
          <p:nvPr>
            <p:ph type="ctrTitle" hasCustomPrompt="1"/>
          </p:nvPr>
        </p:nvSpPr>
        <p:spPr>
          <a:xfrm>
            <a:off x="744122" y="853544"/>
            <a:ext cx="10842844" cy="589626"/>
          </a:xfrm>
        </p:spPr>
        <p:txBody>
          <a:bodyPr anchor="t" anchorCtr="0"/>
          <a:lstStyle>
            <a:lvl1pPr algn="l">
              <a:defRPr sz="3000">
                <a:solidFill>
                  <a:schemeClr val="tx1"/>
                </a:solidFill>
              </a:defRPr>
            </a:lvl1pPr>
          </a:lstStyle>
          <a:p>
            <a:r>
              <a:rPr lang="en-US"/>
              <a:t>Empowering companies to transform</a:t>
            </a:r>
            <a:endParaRPr lang="en-AU"/>
          </a:p>
        </p:txBody>
      </p:sp>
      <p:sp>
        <p:nvSpPr>
          <p:cNvPr id="7" name="Subtitle 2">
            <a:extLst>
              <a:ext uri="{FF2B5EF4-FFF2-40B4-BE49-F238E27FC236}">
                <a16:creationId xmlns:a16="http://schemas.microsoft.com/office/drawing/2014/main" id="{58ED0D17-46B1-DFA1-0D7D-38C622D9A821}"/>
              </a:ext>
            </a:extLst>
          </p:cNvPr>
          <p:cNvSpPr>
            <a:spLocks noGrp="1"/>
          </p:cNvSpPr>
          <p:nvPr>
            <p:ph type="subTitle" idx="1" hasCustomPrompt="1"/>
          </p:nvPr>
        </p:nvSpPr>
        <p:spPr>
          <a:xfrm>
            <a:off x="744122" y="6147435"/>
            <a:ext cx="8620506" cy="37189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5" name="Picture Placeholder 4">
            <a:extLst>
              <a:ext uri="{FF2B5EF4-FFF2-40B4-BE49-F238E27FC236}">
                <a16:creationId xmlns:a16="http://schemas.microsoft.com/office/drawing/2014/main" id="{6D74F4C3-42CC-4821-6AFC-4F4F3FA470C5}"/>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Tree>
    <p:extLst>
      <p:ext uri="{BB962C8B-B14F-4D97-AF65-F5344CB8AC3E}">
        <p14:creationId xmlns:p14="http://schemas.microsoft.com/office/powerpoint/2010/main" val="10529090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_image lef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9FB36D-E3A5-0AF1-881C-3F2E087A2D5C}"/>
              </a:ext>
            </a:extLst>
          </p:cNvPr>
          <p:cNvSpPr>
            <a:spLocks noGrp="1"/>
          </p:cNvSpPr>
          <p:nvPr>
            <p:ph type="pic" sz="quarter" idx="34" hasCustomPrompt="1"/>
          </p:nvPr>
        </p:nvSpPr>
        <p:spPr>
          <a:xfrm>
            <a:off x="1" y="138818"/>
            <a:ext cx="5775324"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6416675" y="604203"/>
            <a:ext cx="5318442"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lvl1pPr>
              <a:defRPr>
                <a:solidFill>
                  <a:schemeClr val="bg1"/>
                </a:solidFill>
              </a:defRPr>
            </a:lvl1p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6416675" y="1484784"/>
            <a:ext cx="5308090" cy="297717"/>
          </a:xfrm>
        </p:spPr>
        <p:txBody>
          <a:bodyPr/>
          <a:lstStyle>
            <a:lvl1pPr>
              <a:defRPr sz="1800">
                <a:solidFill>
                  <a:schemeClr val="accent1"/>
                </a:solidFill>
              </a:defRPr>
            </a:lvl1pPr>
          </a:lstStyle>
          <a:p>
            <a:pPr lvl="0"/>
            <a:r>
              <a:rPr lang="en-US"/>
              <a:t>Subheading Goes Here</a:t>
            </a:r>
            <a:endParaRPr lang="en-AU"/>
          </a:p>
        </p:txBody>
      </p:sp>
      <p:sp>
        <p:nvSpPr>
          <p:cNvPr id="9" name="Content Placeholder 8">
            <a:extLst>
              <a:ext uri="{FF2B5EF4-FFF2-40B4-BE49-F238E27FC236}">
                <a16:creationId xmlns:a16="http://schemas.microsoft.com/office/drawing/2014/main" id="{C0A6CFA0-425C-0EF2-C30B-075E993B3C62}"/>
              </a:ext>
            </a:extLst>
          </p:cNvPr>
          <p:cNvSpPr>
            <a:spLocks noGrp="1"/>
          </p:cNvSpPr>
          <p:nvPr>
            <p:ph sz="quarter" idx="35"/>
          </p:nvPr>
        </p:nvSpPr>
        <p:spPr>
          <a:xfrm>
            <a:off x="6416675" y="2097087"/>
            <a:ext cx="5295900" cy="3795713"/>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CDEFF3B2-DCCF-0171-502F-D26997EAA77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2556097834"/>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lumn_image lef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0A6CFA0-425C-0EF2-C30B-075E993B3C62}"/>
              </a:ext>
            </a:extLst>
          </p:cNvPr>
          <p:cNvSpPr>
            <a:spLocks noGrp="1"/>
          </p:cNvSpPr>
          <p:nvPr>
            <p:ph sz="quarter" idx="35"/>
          </p:nvPr>
        </p:nvSpPr>
        <p:spPr>
          <a:xfrm>
            <a:off x="6416675" y="1484785"/>
            <a:ext cx="5295900" cy="4408016"/>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Picture Placeholder 10">
            <a:extLst>
              <a:ext uri="{FF2B5EF4-FFF2-40B4-BE49-F238E27FC236}">
                <a16:creationId xmlns:a16="http://schemas.microsoft.com/office/drawing/2014/main" id="{7E9FB36D-E3A5-0AF1-881C-3F2E087A2D5C}"/>
              </a:ext>
            </a:extLst>
          </p:cNvPr>
          <p:cNvSpPr>
            <a:spLocks noGrp="1"/>
          </p:cNvSpPr>
          <p:nvPr>
            <p:ph type="pic" sz="quarter" idx="34" hasCustomPrompt="1"/>
          </p:nvPr>
        </p:nvSpPr>
        <p:spPr>
          <a:xfrm>
            <a:off x="1" y="138818"/>
            <a:ext cx="5775324"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6416675" y="604203"/>
            <a:ext cx="5318442"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lvl1pPr>
              <a:defRPr>
                <a:solidFill>
                  <a:schemeClr val="bg1"/>
                </a:solidFill>
              </a:defRPr>
            </a:lvl1pPr>
          </a:lstStyle>
          <a:p>
            <a:fld id="{E4C2AD82-1025-4508-97C1-6F7EE5C92734}" type="slidenum">
              <a:rPr lang="en-AU" smtClean="0"/>
              <a:pPr/>
              <a:t>‹#›</a:t>
            </a:fld>
            <a:endParaRPr lang="en-AU"/>
          </a:p>
        </p:txBody>
      </p:sp>
      <p:sp>
        <p:nvSpPr>
          <p:cNvPr id="3" name="Footer Placeholder 4">
            <a:extLst>
              <a:ext uri="{FF2B5EF4-FFF2-40B4-BE49-F238E27FC236}">
                <a16:creationId xmlns:a16="http://schemas.microsoft.com/office/drawing/2014/main" id="{CB4201D2-BD05-F529-A7BB-0ACAC0B2CAAB}"/>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961414498"/>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_image r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9FB36D-E3A5-0AF1-881C-3F2E087A2D5C}"/>
              </a:ext>
            </a:extLst>
          </p:cNvPr>
          <p:cNvSpPr>
            <a:spLocks noGrp="1"/>
          </p:cNvSpPr>
          <p:nvPr>
            <p:ph type="pic" sz="quarter" idx="34" hasCustomPrompt="1"/>
          </p:nvPr>
        </p:nvSpPr>
        <p:spPr>
          <a:xfrm>
            <a:off x="6416675" y="138818"/>
            <a:ext cx="5775325"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479425" y="604203"/>
            <a:ext cx="5295900"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5295900" cy="297717"/>
          </a:xfrm>
        </p:spPr>
        <p:txBody>
          <a:bodyPr/>
          <a:lstStyle>
            <a:lvl1pPr>
              <a:defRPr sz="1800">
                <a:solidFill>
                  <a:schemeClr val="accent1"/>
                </a:solidFill>
              </a:defRPr>
            </a:lvl1pPr>
          </a:lstStyle>
          <a:p>
            <a:pPr lvl="0"/>
            <a:r>
              <a:rPr lang="en-US"/>
              <a:t>Subheading Goes Here</a:t>
            </a:r>
            <a:endParaRPr lang="en-AU"/>
          </a:p>
        </p:txBody>
      </p:sp>
      <p:sp>
        <p:nvSpPr>
          <p:cNvPr id="3" name="Text Placeholder 5">
            <a:extLst>
              <a:ext uri="{FF2B5EF4-FFF2-40B4-BE49-F238E27FC236}">
                <a16:creationId xmlns:a16="http://schemas.microsoft.com/office/drawing/2014/main" id="{4A46F62F-ADFF-A4C6-E755-AF13BF3C7D3E}"/>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10" name="Content Placeholder 9">
            <a:extLst>
              <a:ext uri="{FF2B5EF4-FFF2-40B4-BE49-F238E27FC236}">
                <a16:creationId xmlns:a16="http://schemas.microsoft.com/office/drawing/2014/main" id="{C48435EA-6A1F-241C-7300-A648D5EA585E}"/>
              </a:ext>
            </a:extLst>
          </p:cNvPr>
          <p:cNvSpPr>
            <a:spLocks noGrp="1"/>
          </p:cNvSpPr>
          <p:nvPr>
            <p:ph sz="quarter" idx="36"/>
          </p:nvPr>
        </p:nvSpPr>
        <p:spPr>
          <a:xfrm>
            <a:off x="479425" y="2097087"/>
            <a:ext cx="5295900" cy="3795713"/>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4">
            <a:extLst>
              <a:ext uri="{FF2B5EF4-FFF2-40B4-BE49-F238E27FC236}">
                <a16:creationId xmlns:a16="http://schemas.microsoft.com/office/drawing/2014/main" id="{2AA475AD-E287-BA47-FE05-0F7C657E7A9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39835347"/>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2 Column_image righ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C48435EA-6A1F-241C-7300-A648D5EA585E}"/>
              </a:ext>
            </a:extLst>
          </p:cNvPr>
          <p:cNvSpPr>
            <a:spLocks noGrp="1"/>
          </p:cNvSpPr>
          <p:nvPr>
            <p:ph sz="quarter" idx="36"/>
          </p:nvPr>
        </p:nvSpPr>
        <p:spPr>
          <a:xfrm>
            <a:off x="479425" y="1484785"/>
            <a:ext cx="5295900" cy="4408016"/>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Picture Placeholder 10">
            <a:extLst>
              <a:ext uri="{FF2B5EF4-FFF2-40B4-BE49-F238E27FC236}">
                <a16:creationId xmlns:a16="http://schemas.microsoft.com/office/drawing/2014/main" id="{7E9FB36D-E3A5-0AF1-881C-3F2E087A2D5C}"/>
              </a:ext>
            </a:extLst>
          </p:cNvPr>
          <p:cNvSpPr>
            <a:spLocks noGrp="1"/>
          </p:cNvSpPr>
          <p:nvPr>
            <p:ph type="pic" sz="quarter" idx="34" hasCustomPrompt="1"/>
          </p:nvPr>
        </p:nvSpPr>
        <p:spPr>
          <a:xfrm>
            <a:off x="6416675" y="138818"/>
            <a:ext cx="5775325"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479425" y="604203"/>
            <a:ext cx="5295900"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3" name="Text Placeholder 5">
            <a:extLst>
              <a:ext uri="{FF2B5EF4-FFF2-40B4-BE49-F238E27FC236}">
                <a16:creationId xmlns:a16="http://schemas.microsoft.com/office/drawing/2014/main" id="{4A46F62F-ADFF-A4C6-E755-AF13BF3C7D3E}"/>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6" name="Footer Placeholder 4">
            <a:extLst>
              <a:ext uri="{FF2B5EF4-FFF2-40B4-BE49-F238E27FC236}">
                <a16:creationId xmlns:a16="http://schemas.microsoft.com/office/drawing/2014/main" id="{364D8D53-9786-BF65-1E1C-386137EEF1E7}"/>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848945504"/>
      </p:ext>
    </p:extLst>
  </p:cSld>
  <p:clrMapOvr>
    <a:masterClrMapping/>
  </p:clrMapOvr>
  <p:extLst>
    <p:ext uri="{DCECCB84-F9BA-43D5-87BE-67443E8EF086}">
      <p15:sldGuideLst xmlns:p15="http://schemas.microsoft.com/office/powerpoint/2012/main">
        <p15:guide id="3" pos="4042" userDrawn="1">
          <p15:clr>
            <a:srgbClr val="FBAE40"/>
          </p15:clr>
        </p15:guide>
        <p15:guide id="4" pos="363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x2 Colum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479425" y="604203"/>
            <a:ext cx="11233150"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12" name="Content Placeholder 11">
            <a:extLst>
              <a:ext uri="{FF2B5EF4-FFF2-40B4-BE49-F238E27FC236}">
                <a16:creationId xmlns:a16="http://schemas.microsoft.com/office/drawing/2014/main" id="{3344F86A-B5BF-0569-852F-092BF7BAC49F}"/>
              </a:ext>
            </a:extLst>
          </p:cNvPr>
          <p:cNvSpPr>
            <a:spLocks noGrp="1"/>
          </p:cNvSpPr>
          <p:nvPr>
            <p:ph sz="quarter" idx="17"/>
          </p:nvPr>
        </p:nvSpPr>
        <p:spPr>
          <a:xfrm>
            <a:off x="479425" y="2097087"/>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4765A43E-261F-3A52-1BB9-A778E2353E3C}"/>
              </a:ext>
            </a:extLst>
          </p:cNvPr>
          <p:cNvSpPr>
            <a:spLocks noGrp="1"/>
          </p:cNvSpPr>
          <p:nvPr>
            <p:ph sz="quarter" idx="18"/>
          </p:nvPr>
        </p:nvSpPr>
        <p:spPr>
          <a:xfrm>
            <a:off x="6416676" y="2097087"/>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7">
            <a:extLst>
              <a:ext uri="{FF2B5EF4-FFF2-40B4-BE49-F238E27FC236}">
                <a16:creationId xmlns:a16="http://schemas.microsoft.com/office/drawing/2014/main" id="{19219568-80F1-F917-5842-82F39B5DC5BF}"/>
              </a:ext>
            </a:extLst>
          </p:cNvPr>
          <p:cNvSpPr>
            <a:spLocks noGrp="1"/>
          </p:cNvSpPr>
          <p:nvPr>
            <p:ph sz="quarter" idx="19"/>
          </p:nvPr>
        </p:nvSpPr>
        <p:spPr>
          <a:xfrm>
            <a:off x="479425" y="4221088"/>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Content Placeholder 20">
            <a:extLst>
              <a:ext uri="{FF2B5EF4-FFF2-40B4-BE49-F238E27FC236}">
                <a16:creationId xmlns:a16="http://schemas.microsoft.com/office/drawing/2014/main" id="{AAE752A9-1F83-AB89-AD9E-C1831A2DE64A}"/>
              </a:ext>
            </a:extLst>
          </p:cNvPr>
          <p:cNvSpPr>
            <a:spLocks noGrp="1"/>
          </p:cNvSpPr>
          <p:nvPr>
            <p:ph sz="quarter" idx="20"/>
          </p:nvPr>
        </p:nvSpPr>
        <p:spPr>
          <a:xfrm>
            <a:off x="6416676" y="4221088"/>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9BF46B2E-AC56-2801-9B5D-DA4B5F544D5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643038730"/>
      </p:ext>
    </p:extLst>
  </p:cSld>
  <p:clrMapOvr>
    <a:masterClrMapping/>
  </p:clrMapOvr>
  <p:extLst>
    <p:ext uri="{DCECCB84-F9BA-43D5-87BE-67443E8EF086}">
      <p15:sldGuideLst xmlns:p15="http://schemas.microsoft.com/office/powerpoint/2012/main">
        <p15:guide id="5" pos="4042" userDrawn="1">
          <p15:clr>
            <a:srgbClr val="FBAE40"/>
          </p15:clr>
        </p15:guide>
        <p15:guide id="6" pos="3638" userDrawn="1">
          <p15:clr>
            <a:srgbClr val="FBAE40"/>
          </p15:clr>
        </p15:guide>
        <p15:guide id="7" orient="horz" pos="2368" userDrawn="1">
          <p15:clr>
            <a:srgbClr val="FBAE40"/>
          </p15:clr>
        </p15:guide>
        <p15:guide id="8" orient="horz" pos="2653"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2x2 Column">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D7A2E3C6-E7E9-434F-921B-3584A9D0CE2D}"/>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129210"/>
            <a:ext cx="12204000" cy="6735362"/>
          </a:xfrm>
          <a:prstGeom prst="rect">
            <a:avLst/>
          </a:prstGeom>
        </p:spPr>
      </p:pic>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479425" y="604203"/>
            <a:ext cx="11233150"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12" name="Content Placeholder 11">
            <a:extLst>
              <a:ext uri="{FF2B5EF4-FFF2-40B4-BE49-F238E27FC236}">
                <a16:creationId xmlns:a16="http://schemas.microsoft.com/office/drawing/2014/main" id="{3344F86A-B5BF-0569-852F-092BF7BAC49F}"/>
              </a:ext>
            </a:extLst>
          </p:cNvPr>
          <p:cNvSpPr>
            <a:spLocks noGrp="1"/>
          </p:cNvSpPr>
          <p:nvPr>
            <p:ph sz="quarter" idx="17"/>
          </p:nvPr>
        </p:nvSpPr>
        <p:spPr>
          <a:xfrm>
            <a:off x="479425" y="2097087"/>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4765A43E-261F-3A52-1BB9-A778E2353E3C}"/>
              </a:ext>
            </a:extLst>
          </p:cNvPr>
          <p:cNvSpPr>
            <a:spLocks noGrp="1"/>
          </p:cNvSpPr>
          <p:nvPr>
            <p:ph sz="quarter" idx="18"/>
          </p:nvPr>
        </p:nvSpPr>
        <p:spPr>
          <a:xfrm>
            <a:off x="6416676" y="2097087"/>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7">
            <a:extLst>
              <a:ext uri="{FF2B5EF4-FFF2-40B4-BE49-F238E27FC236}">
                <a16:creationId xmlns:a16="http://schemas.microsoft.com/office/drawing/2014/main" id="{19219568-80F1-F917-5842-82F39B5DC5BF}"/>
              </a:ext>
            </a:extLst>
          </p:cNvPr>
          <p:cNvSpPr>
            <a:spLocks noGrp="1"/>
          </p:cNvSpPr>
          <p:nvPr>
            <p:ph sz="quarter" idx="19"/>
          </p:nvPr>
        </p:nvSpPr>
        <p:spPr>
          <a:xfrm>
            <a:off x="479425" y="4221088"/>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Content Placeholder 20">
            <a:extLst>
              <a:ext uri="{FF2B5EF4-FFF2-40B4-BE49-F238E27FC236}">
                <a16:creationId xmlns:a16="http://schemas.microsoft.com/office/drawing/2014/main" id="{AAE752A9-1F83-AB89-AD9E-C1831A2DE64A}"/>
              </a:ext>
            </a:extLst>
          </p:cNvPr>
          <p:cNvSpPr>
            <a:spLocks noGrp="1"/>
          </p:cNvSpPr>
          <p:nvPr>
            <p:ph sz="quarter" idx="20"/>
          </p:nvPr>
        </p:nvSpPr>
        <p:spPr>
          <a:xfrm>
            <a:off x="6416676" y="4221088"/>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6" name="Picture 5" descr="A black screen with white text&#10;&#10;Description automatically generated with medium confidence">
            <a:extLst>
              <a:ext uri="{FF2B5EF4-FFF2-40B4-BE49-F238E27FC236}">
                <a16:creationId xmlns:a16="http://schemas.microsoft.com/office/drawing/2014/main" id="{8521198D-AFCE-7E66-FFAF-CAB0348E8F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1099" y="6173769"/>
            <a:ext cx="828938" cy="291536"/>
          </a:xfrm>
          <a:prstGeom prst="rect">
            <a:avLst/>
          </a:prstGeom>
        </p:spPr>
      </p:pic>
      <p:sp>
        <p:nvSpPr>
          <p:cNvPr id="3" name="Footer Placeholder 4">
            <a:extLst>
              <a:ext uri="{FF2B5EF4-FFF2-40B4-BE49-F238E27FC236}">
                <a16:creationId xmlns:a16="http://schemas.microsoft.com/office/drawing/2014/main" id="{0451D8EA-816D-AFDD-BDD5-43FDA45EAD14}"/>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404127337"/>
      </p:ext>
    </p:extLst>
  </p:cSld>
  <p:clrMapOvr>
    <a:masterClrMapping/>
  </p:clrMapOvr>
  <p:extLst>
    <p:ext uri="{DCECCB84-F9BA-43D5-87BE-67443E8EF086}">
      <p15:sldGuideLst xmlns:p15="http://schemas.microsoft.com/office/powerpoint/2012/main">
        <p15:guide id="5" pos="4042">
          <p15:clr>
            <a:srgbClr val="FBAE40"/>
          </p15:clr>
        </p15:guide>
        <p15:guide id="6" pos="3638">
          <p15:clr>
            <a:srgbClr val="FBAE40"/>
          </p15:clr>
        </p15:guide>
        <p15:guide id="7" orient="horz" pos="2368">
          <p15:clr>
            <a:srgbClr val="FBAE40"/>
          </p15:clr>
        </p15:guide>
        <p15:guide id="8" orient="horz" pos="26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x2 Column_gradient highlights">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7" name="Title 6">
            <a:extLst>
              <a:ext uri="{FF2B5EF4-FFF2-40B4-BE49-F238E27FC236}">
                <a16:creationId xmlns:a16="http://schemas.microsoft.com/office/drawing/2014/main" id="{7A64A786-7982-4345-97EC-AAC033844AB0}"/>
              </a:ext>
            </a:extLst>
          </p:cNvPr>
          <p:cNvSpPr>
            <a:spLocks noGrp="1"/>
          </p:cNvSpPr>
          <p:nvPr>
            <p:ph type="title"/>
          </p:nvPr>
        </p:nvSpPr>
        <p:spPr/>
        <p:txBody>
          <a:bodyPr/>
          <a:lstStyle/>
          <a:p>
            <a:r>
              <a:rPr lang="en-US"/>
              <a:t>Click to edit Master title style</a:t>
            </a:r>
            <a:endParaRPr lang="en-AU"/>
          </a:p>
        </p:txBody>
      </p:sp>
      <p:sp>
        <p:nvSpPr>
          <p:cNvPr id="11" name="Content Placeholder 10">
            <a:extLst>
              <a:ext uri="{FF2B5EF4-FFF2-40B4-BE49-F238E27FC236}">
                <a16:creationId xmlns:a16="http://schemas.microsoft.com/office/drawing/2014/main" id="{0837AC85-7A7E-9263-55AA-8F24AC3AADCB}"/>
              </a:ext>
            </a:extLst>
          </p:cNvPr>
          <p:cNvSpPr>
            <a:spLocks noGrp="1"/>
          </p:cNvSpPr>
          <p:nvPr>
            <p:ph sz="quarter" idx="18"/>
          </p:nvPr>
        </p:nvSpPr>
        <p:spPr>
          <a:xfrm>
            <a:off x="479425" y="2097087"/>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A7262ACD-B3CE-04F2-7716-69FAB6670432}"/>
              </a:ext>
            </a:extLst>
          </p:cNvPr>
          <p:cNvSpPr>
            <a:spLocks noGrp="1"/>
          </p:cNvSpPr>
          <p:nvPr>
            <p:ph sz="quarter" idx="19"/>
          </p:nvPr>
        </p:nvSpPr>
        <p:spPr>
          <a:xfrm>
            <a:off x="6416676" y="4221088"/>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10">
            <a:extLst>
              <a:ext uri="{FF2B5EF4-FFF2-40B4-BE49-F238E27FC236}">
                <a16:creationId xmlns:a16="http://schemas.microsoft.com/office/drawing/2014/main" id="{AC79B4F1-56EB-4249-BB62-F11A130C8197}"/>
              </a:ext>
            </a:extLst>
          </p:cNvPr>
          <p:cNvSpPr>
            <a:spLocks noGrp="1"/>
          </p:cNvSpPr>
          <p:nvPr>
            <p:ph sz="quarter" idx="20"/>
          </p:nvPr>
        </p:nvSpPr>
        <p:spPr>
          <a:xfrm>
            <a:off x="6423788" y="2097087"/>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Content Placeholder 14">
            <a:extLst>
              <a:ext uri="{FF2B5EF4-FFF2-40B4-BE49-F238E27FC236}">
                <a16:creationId xmlns:a16="http://schemas.microsoft.com/office/drawing/2014/main" id="{1D5F8A2C-5E88-ED41-967D-4534DC95D2C6}"/>
              </a:ext>
            </a:extLst>
          </p:cNvPr>
          <p:cNvSpPr>
            <a:spLocks noGrp="1"/>
          </p:cNvSpPr>
          <p:nvPr>
            <p:ph sz="quarter" idx="21"/>
          </p:nvPr>
        </p:nvSpPr>
        <p:spPr>
          <a:xfrm>
            <a:off x="479376" y="4221088"/>
            <a:ext cx="5295900" cy="1657033"/>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55D555D0-34A2-04FA-D808-252C30400CB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459161695"/>
      </p:ext>
    </p:extLst>
  </p:cSld>
  <p:clrMapOvr>
    <a:masterClrMapping/>
  </p:clrMapOvr>
  <p:extLst>
    <p:ext uri="{DCECCB84-F9BA-43D5-87BE-67443E8EF086}">
      <p15:sldGuideLst xmlns:p15="http://schemas.microsoft.com/office/powerpoint/2012/main">
        <p15:guide id="5" pos="4042" userDrawn="1">
          <p15:clr>
            <a:srgbClr val="FBAE40"/>
          </p15:clr>
        </p15:guide>
        <p15:guide id="6" pos="3638" userDrawn="1">
          <p15:clr>
            <a:srgbClr val="FBAE40"/>
          </p15:clr>
        </p15:guide>
        <p15:guide id="7" orient="horz" pos="2368" userDrawn="1">
          <p15:clr>
            <a:srgbClr val="FBAE40"/>
          </p15:clr>
        </p15:guide>
        <p15:guide id="8" orient="horz" pos="265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2x2 Column">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9C324-4C84-8048-8D3C-7D079794518F}"/>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129210"/>
            <a:ext cx="12204000" cy="6735362"/>
          </a:xfrm>
          <a:prstGeom prst="rect">
            <a:avLst/>
          </a:prstGeom>
        </p:spPr>
      </p:pic>
      <p:sp>
        <p:nvSpPr>
          <p:cNvPr id="4" name="Title 3">
            <a:extLst>
              <a:ext uri="{FF2B5EF4-FFF2-40B4-BE49-F238E27FC236}">
                <a16:creationId xmlns:a16="http://schemas.microsoft.com/office/drawing/2014/main" id="{3AB119FE-C17F-DE03-6352-C04EEE8C8C93}"/>
              </a:ext>
            </a:extLst>
          </p:cNvPr>
          <p:cNvSpPr>
            <a:spLocks noGrp="1"/>
          </p:cNvSpPr>
          <p:nvPr>
            <p:ph type="title"/>
          </p:nvPr>
        </p:nvSpPr>
        <p:spPr>
          <a:xfrm>
            <a:off x="479425" y="604203"/>
            <a:ext cx="11233150" cy="746695"/>
          </a:xfrm>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12" name="Content Placeholder 11">
            <a:extLst>
              <a:ext uri="{FF2B5EF4-FFF2-40B4-BE49-F238E27FC236}">
                <a16:creationId xmlns:a16="http://schemas.microsoft.com/office/drawing/2014/main" id="{3344F86A-B5BF-0569-852F-092BF7BAC49F}"/>
              </a:ext>
            </a:extLst>
          </p:cNvPr>
          <p:cNvSpPr>
            <a:spLocks noGrp="1"/>
          </p:cNvSpPr>
          <p:nvPr>
            <p:ph sz="quarter" idx="17"/>
          </p:nvPr>
        </p:nvSpPr>
        <p:spPr>
          <a:xfrm>
            <a:off x="479425" y="1782501"/>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4765A43E-261F-3A52-1BB9-A778E2353E3C}"/>
              </a:ext>
            </a:extLst>
          </p:cNvPr>
          <p:cNvSpPr>
            <a:spLocks noGrp="1"/>
          </p:cNvSpPr>
          <p:nvPr>
            <p:ph sz="quarter" idx="18"/>
          </p:nvPr>
        </p:nvSpPr>
        <p:spPr>
          <a:xfrm>
            <a:off x="6416676" y="1782501"/>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7">
            <a:extLst>
              <a:ext uri="{FF2B5EF4-FFF2-40B4-BE49-F238E27FC236}">
                <a16:creationId xmlns:a16="http://schemas.microsoft.com/office/drawing/2014/main" id="{19219568-80F1-F917-5842-82F39B5DC5BF}"/>
              </a:ext>
            </a:extLst>
          </p:cNvPr>
          <p:cNvSpPr>
            <a:spLocks noGrp="1"/>
          </p:cNvSpPr>
          <p:nvPr>
            <p:ph sz="quarter" idx="19"/>
          </p:nvPr>
        </p:nvSpPr>
        <p:spPr>
          <a:xfrm>
            <a:off x="479425" y="3906502"/>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1" name="Content Placeholder 20">
            <a:extLst>
              <a:ext uri="{FF2B5EF4-FFF2-40B4-BE49-F238E27FC236}">
                <a16:creationId xmlns:a16="http://schemas.microsoft.com/office/drawing/2014/main" id="{AAE752A9-1F83-AB89-AD9E-C1831A2DE64A}"/>
              </a:ext>
            </a:extLst>
          </p:cNvPr>
          <p:cNvSpPr>
            <a:spLocks noGrp="1"/>
          </p:cNvSpPr>
          <p:nvPr>
            <p:ph sz="quarter" idx="20"/>
          </p:nvPr>
        </p:nvSpPr>
        <p:spPr>
          <a:xfrm>
            <a:off x="6416676" y="3906502"/>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3" name="Picture 2" descr="A black screen with white text&#10;&#10;Description automatically generated with medium confidence">
            <a:extLst>
              <a:ext uri="{FF2B5EF4-FFF2-40B4-BE49-F238E27FC236}">
                <a16:creationId xmlns:a16="http://schemas.microsoft.com/office/drawing/2014/main" id="{9D99F775-1FB1-3F05-467D-F3C14A0F357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1099" y="6173769"/>
            <a:ext cx="828938" cy="291536"/>
          </a:xfrm>
          <a:prstGeom prst="rect">
            <a:avLst/>
          </a:prstGeom>
        </p:spPr>
      </p:pic>
      <p:sp>
        <p:nvSpPr>
          <p:cNvPr id="6" name="Footer Placeholder 4">
            <a:extLst>
              <a:ext uri="{FF2B5EF4-FFF2-40B4-BE49-F238E27FC236}">
                <a16:creationId xmlns:a16="http://schemas.microsoft.com/office/drawing/2014/main" id="{57D1D42D-786B-1C96-EA37-0B58B79E7DE5}"/>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80002419"/>
      </p:ext>
    </p:extLst>
  </p:cSld>
  <p:clrMapOvr>
    <a:masterClrMapping/>
  </p:clrMapOvr>
  <p:extLst>
    <p:ext uri="{DCECCB84-F9BA-43D5-87BE-67443E8EF086}">
      <p15:sldGuideLst xmlns:p15="http://schemas.microsoft.com/office/powerpoint/2012/main">
        <p15:guide id="5" pos="4042" userDrawn="1">
          <p15:clr>
            <a:srgbClr val="FBAE40"/>
          </p15:clr>
        </p15:guide>
        <p15:guide id="6" pos="3638" userDrawn="1">
          <p15:clr>
            <a:srgbClr val="FBAE40"/>
          </p15:clr>
        </p15:guide>
        <p15:guide id="7" orient="horz" pos="2368" userDrawn="1">
          <p15:clr>
            <a:srgbClr val="FBAE40"/>
          </p15:clr>
        </p15:guide>
        <p15:guide id="8" orient="horz" pos="265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x2 Column_gradient highlights">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7" name="Title 6">
            <a:extLst>
              <a:ext uri="{FF2B5EF4-FFF2-40B4-BE49-F238E27FC236}">
                <a16:creationId xmlns:a16="http://schemas.microsoft.com/office/drawing/2014/main" id="{7A64A786-7982-4345-97EC-AAC033844AB0}"/>
              </a:ext>
            </a:extLst>
          </p:cNvPr>
          <p:cNvSpPr>
            <a:spLocks noGrp="1"/>
          </p:cNvSpPr>
          <p:nvPr>
            <p:ph type="title"/>
          </p:nvPr>
        </p:nvSpPr>
        <p:spPr/>
        <p:txBody>
          <a:bodyPr/>
          <a:lstStyle/>
          <a:p>
            <a:r>
              <a:rPr lang="en-US"/>
              <a:t>Click to edit Master title style</a:t>
            </a:r>
            <a:endParaRPr lang="en-AU"/>
          </a:p>
        </p:txBody>
      </p:sp>
      <p:sp>
        <p:nvSpPr>
          <p:cNvPr id="11" name="Content Placeholder 10">
            <a:extLst>
              <a:ext uri="{FF2B5EF4-FFF2-40B4-BE49-F238E27FC236}">
                <a16:creationId xmlns:a16="http://schemas.microsoft.com/office/drawing/2014/main" id="{0837AC85-7A7E-9263-55AA-8F24AC3AADCB}"/>
              </a:ext>
            </a:extLst>
          </p:cNvPr>
          <p:cNvSpPr>
            <a:spLocks noGrp="1"/>
          </p:cNvSpPr>
          <p:nvPr>
            <p:ph sz="quarter" idx="18"/>
          </p:nvPr>
        </p:nvSpPr>
        <p:spPr>
          <a:xfrm>
            <a:off x="479425" y="1782501"/>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A7262ACD-B3CE-04F2-7716-69FAB6670432}"/>
              </a:ext>
            </a:extLst>
          </p:cNvPr>
          <p:cNvSpPr>
            <a:spLocks noGrp="1"/>
          </p:cNvSpPr>
          <p:nvPr>
            <p:ph sz="quarter" idx="19"/>
          </p:nvPr>
        </p:nvSpPr>
        <p:spPr>
          <a:xfrm>
            <a:off x="6416676" y="3906502"/>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10">
            <a:extLst>
              <a:ext uri="{FF2B5EF4-FFF2-40B4-BE49-F238E27FC236}">
                <a16:creationId xmlns:a16="http://schemas.microsoft.com/office/drawing/2014/main" id="{494B0006-7458-D340-ACB3-F330309CA7E3}"/>
              </a:ext>
            </a:extLst>
          </p:cNvPr>
          <p:cNvSpPr>
            <a:spLocks noGrp="1"/>
          </p:cNvSpPr>
          <p:nvPr>
            <p:ph sz="quarter" idx="20"/>
          </p:nvPr>
        </p:nvSpPr>
        <p:spPr>
          <a:xfrm>
            <a:off x="6403910" y="1782501"/>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14">
            <a:extLst>
              <a:ext uri="{FF2B5EF4-FFF2-40B4-BE49-F238E27FC236}">
                <a16:creationId xmlns:a16="http://schemas.microsoft.com/office/drawing/2014/main" id="{DDC970B5-5B1A-7045-A8A1-4C8B833A3E0E}"/>
              </a:ext>
            </a:extLst>
          </p:cNvPr>
          <p:cNvSpPr>
            <a:spLocks noGrp="1"/>
          </p:cNvSpPr>
          <p:nvPr>
            <p:ph sz="quarter" idx="21"/>
          </p:nvPr>
        </p:nvSpPr>
        <p:spPr>
          <a:xfrm>
            <a:off x="489315" y="3906502"/>
            <a:ext cx="5295900" cy="1971619"/>
          </a:xfrm>
          <a:custGeom>
            <a:avLst/>
            <a:gdLst>
              <a:gd name="connsiteX0" fmla="*/ 0 w 5295900"/>
              <a:gd name="connsiteY0" fmla="*/ 0 h 1657033"/>
              <a:gd name="connsiteX1" fmla="*/ 5295900 w 5295900"/>
              <a:gd name="connsiteY1" fmla="*/ 0 h 1657033"/>
              <a:gd name="connsiteX2" fmla="*/ 5295900 w 5295900"/>
              <a:gd name="connsiteY2" fmla="*/ 1657033 h 1657033"/>
              <a:gd name="connsiteX3" fmla="*/ 0 w 5295900"/>
              <a:gd name="connsiteY3" fmla="*/ 1657033 h 1657033"/>
            </a:gdLst>
            <a:ahLst/>
            <a:cxnLst>
              <a:cxn ang="0">
                <a:pos x="connsiteX0" y="connsiteY0"/>
              </a:cxn>
              <a:cxn ang="0">
                <a:pos x="connsiteX1" y="connsiteY1"/>
              </a:cxn>
              <a:cxn ang="0">
                <a:pos x="connsiteX2" y="connsiteY2"/>
              </a:cxn>
              <a:cxn ang="0">
                <a:pos x="connsiteX3" y="connsiteY3"/>
              </a:cxn>
            </a:cxnLst>
            <a:rect l="l" t="t" r="r" b="b"/>
            <a:pathLst>
              <a:path w="5295900" h="1657033">
                <a:moveTo>
                  <a:pt x="0" y="0"/>
                </a:moveTo>
                <a:lnTo>
                  <a:pt x="5295900" y="0"/>
                </a:lnTo>
                <a:lnTo>
                  <a:pt x="5295900" y="1657033"/>
                </a:lnTo>
                <a:lnTo>
                  <a:pt x="0" y="1657033"/>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C597BB0A-88D2-03A6-8586-8FA1DB080CF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492688812"/>
      </p:ext>
    </p:extLst>
  </p:cSld>
  <p:clrMapOvr>
    <a:masterClrMapping/>
  </p:clrMapOvr>
  <p:extLst>
    <p:ext uri="{DCECCB84-F9BA-43D5-87BE-67443E8EF086}">
      <p15:sldGuideLst xmlns:p15="http://schemas.microsoft.com/office/powerpoint/2012/main">
        <p15:guide id="5" pos="4042" userDrawn="1">
          <p15:clr>
            <a:srgbClr val="FBAE40"/>
          </p15:clr>
        </p15:guide>
        <p15:guide id="6" pos="3638" userDrawn="1">
          <p15:clr>
            <a:srgbClr val="FBAE40"/>
          </p15:clr>
        </p15:guide>
        <p15:guide id="7" orient="horz" pos="2368" userDrawn="1">
          <p15:clr>
            <a:srgbClr val="FBAE40"/>
          </p15:clr>
        </p15:guide>
        <p15:guide id="8" orient="horz" pos="2653"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6" name="Title 5">
            <a:extLst>
              <a:ext uri="{FF2B5EF4-FFF2-40B4-BE49-F238E27FC236}">
                <a16:creationId xmlns:a16="http://schemas.microsoft.com/office/drawing/2014/main" id="{368C66C4-0FD9-473D-93DC-CAE02AB7AA74}"/>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A0D813EC-9BCE-99FC-933F-CDF2AE7FE0B5}"/>
              </a:ext>
            </a:extLst>
          </p:cNvPr>
          <p:cNvSpPr>
            <a:spLocks noGrp="1"/>
          </p:cNvSpPr>
          <p:nvPr>
            <p:ph sz="quarter" idx="17"/>
          </p:nvPr>
        </p:nvSpPr>
        <p:spPr>
          <a:xfrm>
            <a:off x="479425" y="2097088"/>
            <a:ext cx="3330575" cy="3795712"/>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Content Placeholder 11">
            <a:extLst>
              <a:ext uri="{FF2B5EF4-FFF2-40B4-BE49-F238E27FC236}">
                <a16:creationId xmlns:a16="http://schemas.microsoft.com/office/drawing/2014/main" id="{89AECD12-C26F-B373-9B0C-4D2CFA186484}"/>
              </a:ext>
            </a:extLst>
          </p:cNvPr>
          <p:cNvSpPr>
            <a:spLocks noGrp="1"/>
          </p:cNvSpPr>
          <p:nvPr>
            <p:ph sz="quarter" idx="18"/>
          </p:nvPr>
        </p:nvSpPr>
        <p:spPr>
          <a:xfrm>
            <a:off x="4439816" y="2097088"/>
            <a:ext cx="3330575" cy="3795712"/>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9A851499-666B-FC4E-E5EB-E1D3DB16C543}"/>
              </a:ext>
            </a:extLst>
          </p:cNvPr>
          <p:cNvSpPr>
            <a:spLocks noGrp="1"/>
          </p:cNvSpPr>
          <p:nvPr>
            <p:ph sz="quarter" idx="19"/>
          </p:nvPr>
        </p:nvSpPr>
        <p:spPr>
          <a:xfrm>
            <a:off x="8400256" y="2097088"/>
            <a:ext cx="3330575" cy="3795712"/>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43D35697-082D-13AB-CF97-454475B1A6FD}"/>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015380892"/>
      </p:ext>
    </p:extLst>
  </p:cSld>
  <p:clrMapOvr>
    <a:masterClrMapping/>
  </p:clrMapOvr>
  <p:extLst>
    <p:ext uri="{DCECCB84-F9BA-43D5-87BE-67443E8EF086}">
      <p15:sldGuideLst xmlns:p15="http://schemas.microsoft.com/office/powerpoint/2012/main">
        <p15:guide id="5" pos="4906" userDrawn="1">
          <p15:clr>
            <a:srgbClr val="FBAE40"/>
          </p15:clr>
        </p15:guide>
        <p15:guide id="6" pos="5290" userDrawn="1">
          <p15:clr>
            <a:srgbClr val="FBAE40"/>
          </p15:clr>
        </p15:guide>
        <p15:guide id="7" pos="2400" userDrawn="1">
          <p15:clr>
            <a:srgbClr val="FBAE40"/>
          </p15:clr>
        </p15:guide>
        <p15:guide id="8" pos="280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4_option 1">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24E97CAE-A08A-229C-C919-DD225E50E2A4}"/>
              </a:ext>
            </a:extLst>
          </p:cNvPr>
          <p:cNvSpPr>
            <a:spLocks noGrp="1"/>
          </p:cNvSpPr>
          <p:nvPr>
            <p:ph type="pic" sz="quarter" idx="34" hasCustomPrompt="1"/>
          </p:nvPr>
        </p:nvSpPr>
        <p:spPr>
          <a:xfrm>
            <a:off x="544194" y="1803552"/>
            <a:ext cx="11044607" cy="3853290"/>
          </a:xfrm>
          <a:custGeom>
            <a:avLst/>
            <a:gdLst>
              <a:gd name="connsiteX0" fmla="*/ 9185820 w 11044607"/>
              <a:gd name="connsiteY0" fmla="*/ 796494 h 3853290"/>
              <a:gd name="connsiteX1" fmla="*/ 8420696 w 11044607"/>
              <a:gd name="connsiteY1" fmla="*/ 1510737 h 3853290"/>
              <a:gd name="connsiteX2" fmla="*/ 9894834 w 11044607"/>
              <a:gd name="connsiteY2" fmla="*/ 1510737 h 3853290"/>
              <a:gd name="connsiteX3" fmla="*/ 9185820 w 11044607"/>
              <a:gd name="connsiteY3" fmla="*/ 796494 h 3853290"/>
              <a:gd name="connsiteX4" fmla="*/ 6076230 w 11044607"/>
              <a:gd name="connsiteY4" fmla="*/ 0 h 3853290"/>
              <a:gd name="connsiteX5" fmla="*/ 7323892 w 11044607"/>
              <a:gd name="connsiteY5" fmla="*/ 1371867 h 3853290"/>
              <a:gd name="connsiteX6" fmla="*/ 7323892 w 11044607"/>
              <a:gd name="connsiteY6" fmla="*/ 1579853 h 3853290"/>
              <a:gd name="connsiteX7" fmla="*/ 9164269 w 11044607"/>
              <a:gd name="connsiteY7" fmla="*/ 0 h 3853290"/>
              <a:gd name="connsiteX8" fmla="*/ 10405682 w 11044607"/>
              <a:gd name="connsiteY8" fmla="*/ 453718 h 3853290"/>
              <a:gd name="connsiteX9" fmla="*/ 11044560 w 11044607"/>
              <a:gd name="connsiteY9" fmla="*/ 2206872 h 3853290"/>
              <a:gd name="connsiteX10" fmla="*/ 8407434 w 11044607"/>
              <a:gd name="connsiteY10" fmla="*/ 2206872 h 3853290"/>
              <a:gd name="connsiteX11" fmla="*/ 8410240 w 11044607"/>
              <a:gd name="connsiteY11" fmla="*/ 2226255 h 3853290"/>
              <a:gd name="connsiteX12" fmla="*/ 9083613 w 11044607"/>
              <a:gd name="connsiteY12" fmla="*/ 3029026 h 3853290"/>
              <a:gd name="connsiteX13" fmla="*/ 9250166 w 11044607"/>
              <a:gd name="connsiteY13" fmla="*/ 3042510 h 3853290"/>
              <a:gd name="connsiteX14" fmla="*/ 9250090 w 11044607"/>
              <a:gd name="connsiteY14" fmla="*/ 3042514 h 3853290"/>
              <a:gd name="connsiteX15" fmla="*/ 9250218 w 11044607"/>
              <a:gd name="connsiteY15" fmla="*/ 3042514 h 3853290"/>
              <a:gd name="connsiteX16" fmla="*/ 9250166 w 11044607"/>
              <a:gd name="connsiteY16" fmla="*/ 3042510 h 3853290"/>
              <a:gd name="connsiteX17" fmla="*/ 9357403 w 11044607"/>
              <a:gd name="connsiteY17" fmla="*/ 3036628 h 3853290"/>
              <a:gd name="connsiteX18" fmla="*/ 9869586 w 11044607"/>
              <a:gd name="connsiteY18" fmla="*/ 2677423 h 3853290"/>
              <a:gd name="connsiteX19" fmla="*/ 10975189 w 11044607"/>
              <a:gd name="connsiteY19" fmla="*/ 2677423 h 3853290"/>
              <a:gd name="connsiteX20" fmla="*/ 10371507 w 11044607"/>
              <a:gd name="connsiteY20" fmla="*/ 3512810 h 3853290"/>
              <a:gd name="connsiteX21" fmla="*/ 9235808 w 11044607"/>
              <a:gd name="connsiteY21" fmla="*/ 3846276 h 3853290"/>
              <a:gd name="connsiteX22" fmla="*/ 7323892 w 11044607"/>
              <a:gd name="connsiteY22" fmla="*/ 2264256 h 3853290"/>
              <a:gd name="connsiteX23" fmla="*/ 7323892 w 11044607"/>
              <a:gd name="connsiteY23" fmla="*/ 3738904 h 3853290"/>
              <a:gd name="connsiteX24" fmla="*/ 6200562 w 11044607"/>
              <a:gd name="connsiteY24" fmla="*/ 3738904 h 3853290"/>
              <a:gd name="connsiteX25" fmla="*/ 6200562 w 11044607"/>
              <a:gd name="connsiteY25" fmla="*/ 1608162 h 3853290"/>
              <a:gd name="connsiteX26" fmla="*/ 5610907 w 11044607"/>
              <a:gd name="connsiteY26" fmla="*/ 939699 h 3853290"/>
              <a:gd name="connsiteX27" fmla="*/ 4949585 w 11044607"/>
              <a:gd name="connsiteY27" fmla="*/ 1729817 h 3853290"/>
              <a:gd name="connsiteX28" fmla="*/ 4949585 w 11044607"/>
              <a:gd name="connsiteY28" fmla="*/ 3738777 h 3853290"/>
              <a:gd name="connsiteX29" fmla="*/ 3826256 w 11044607"/>
              <a:gd name="connsiteY29" fmla="*/ 3738777 h 3853290"/>
              <a:gd name="connsiteX30" fmla="*/ 3826256 w 11044607"/>
              <a:gd name="connsiteY30" fmla="*/ 2238369 h 3853290"/>
              <a:gd name="connsiteX31" fmla="*/ 1925816 w 11044607"/>
              <a:gd name="connsiteY31" fmla="*/ 3853290 h 3853290"/>
              <a:gd name="connsiteX32" fmla="*/ 0 w 11044607"/>
              <a:gd name="connsiteY32" fmla="*/ 1927474 h 3853290"/>
              <a:gd name="connsiteX33" fmla="*/ 1925816 w 11044607"/>
              <a:gd name="connsiteY33" fmla="*/ 1658 h 3853290"/>
              <a:gd name="connsiteX34" fmla="*/ 3826384 w 11044607"/>
              <a:gd name="connsiteY34" fmla="*/ 1616579 h 3853290"/>
              <a:gd name="connsiteX35" fmla="*/ 3826384 w 11044607"/>
              <a:gd name="connsiteY35" fmla="*/ 107372 h 3853290"/>
              <a:gd name="connsiteX36" fmla="*/ 4923826 w 11044607"/>
              <a:gd name="connsiteY36" fmla="*/ 107372 h 3853290"/>
              <a:gd name="connsiteX37" fmla="*/ 4923826 w 11044607"/>
              <a:gd name="connsiteY37" fmla="*/ 608528 h 3853290"/>
              <a:gd name="connsiteX38" fmla="*/ 4945249 w 11044607"/>
              <a:gd name="connsiteY38" fmla="*/ 608528 h 3853290"/>
              <a:gd name="connsiteX39" fmla="*/ 6076230 w 11044607"/>
              <a:gd name="connsiteY39" fmla="*/ 0 h 385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044607" h="3853290">
                <a:moveTo>
                  <a:pt x="9185820" y="796494"/>
                </a:moveTo>
                <a:cubicBezTo>
                  <a:pt x="8767935" y="796494"/>
                  <a:pt x="8510726" y="1036998"/>
                  <a:pt x="8420696" y="1510737"/>
                </a:cubicBezTo>
                <a:lnTo>
                  <a:pt x="9894834" y="1510737"/>
                </a:lnTo>
                <a:cubicBezTo>
                  <a:pt x="9845612" y="1076401"/>
                  <a:pt x="9569147" y="796494"/>
                  <a:pt x="9185820" y="796494"/>
                </a:cubicBezTo>
                <a:close/>
                <a:moveTo>
                  <a:pt x="6076230" y="0"/>
                </a:moveTo>
                <a:cubicBezTo>
                  <a:pt x="6839951" y="0"/>
                  <a:pt x="7323892" y="538520"/>
                  <a:pt x="7323892" y="1371867"/>
                </a:cubicBezTo>
                <a:lnTo>
                  <a:pt x="7323892" y="1579853"/>
                </a:lnTo>
                <a:cubicBezTo>
                  <a:pt x="7465567" y="646912"/>
                  <a:pt x="8195750" y="0"/>
                  <a:pt x="9164269" y="0"/>
                </a:cubicBezTo>
                <a:cubicBezTo>
                  <a:pt x="9656754" y="0"/>
                  <a:pt x="10074511" y="152642"/>
                  <a:pt x="10405682" y="453718"/>
                </a:cubicBezTo>
                <a:cubicBezTo>
                  <a:pt x="10821782" y="835770"/>
                  <a:pt x="11048386" y="1457816"/>
                  <a:pt x="11044560" y="2206872"/>
                </a:cubicBezTo>
                <a:lnTo>
                  <a:pt x="8407434" y="2206872"/>
                </a:lnTo>
                <a:lnTo>
                  <a:pt x="8410240" y="2226255"/>
                </a:lnTo>
                <a:cubicBezTo>
                  <a:pt x="8476853" y="2686748"/>
                  <a:pt x="8713641" y="2966327"/>
                  <a:pt x="9083613" y="3029026"/>
                </a:cubicBezTo>
                <a:lnTo>
                  <a:pt x="9250166" y="3042510"/>
                </a:lnTo>
                <a:lnTo>
                  <a:pt x="9250090" y="3042514"/>
                </a:lnTo>
                <a:lnTo>
                  <a:pt x="9250218" y="3042514"/>
                </a:lnTo>
                <a:lnTo>
                  <a:pt x="9250166" y="3042510"/>
                </a:lnTo>
                <a:lnTo>
                  <a:pt x="9357403" y="3036628"/>
                </a:lnTo>
                <a:cubicBezTo>
                  <a:pt x="9598556" y="3009221"/>
                  <a:pt x="9774295" y="2886525"/>
                  <a:pt x="9869586" y="2677423"/>
                </a:cubicBezTo>
                <a:lnTo>
                  <a:pt x="10975189" y="2677423"/>
                </a:lnTo>
                <a:cubicBezTo>
                  <a:pt x="10890770" y="3006426"/>
                  <a:pt x="10677173" y="3302273"/>
                  <a:pt x="10371507" y="3512810"/>
                </a:cubicBezTo>
                <a:cubicBezTo>
                  <a:pt x="10050027" y="3737246"/>
                  <a:pt x="9678432" y="3846276"/>
                  <a:pt x="9235808" y="3846276"/>
                </a:cubicBezTo>
                <a:cubicBezTo>
                  <a:pt x="8197918" y="3846276"/>
                  <a:pt x="7465439" y="3223721"/>
                  <a:pt x="7323892" y="2264256"/>
                </a:cubicBezTo>
                <a:lnTo>
                  <a:pt x="7323892" y="3738904"/>
                </a:lnTo>
                <a:lnTo>
                  <a:pt x="6200562" y="3738904"/>
                </a:lnTo>
                <a:lnTo>
                  <a:pt x="6200562" y="1608162"/>
                </a:lnTo>
                <a:cubicBezTo>
                  <a:pt x="6200562" y="1189640"/>
                  <a:pt x="5980080" y="939699"/>
                  <a:pt x="5610907" y="939699"/>
                </a:cubicBezTo>
                <a:cubicBezTo>
                  <a:pt x="5221459" y="939699"/>
                  <a:pt x="4949585" y="1264622"/>
                  <a:pt x="4949585" y="1729817"/>
                </a:cubicBezTo>
                <a:lnTo>
                  <a:pt x="4949585" y="3738777"/>
                </a:lnTo>
                <a:lnTo>
                  <a:pt x="3826256" y="3738777"/>
                </a:lnTo>
                <a:lnTo>
                  <a:pt x="3826256" y="2238369"/>
                </a:lnTo>
                <a:cubicBezTo>
                  <a:pt x="3677057" y="3152947"/>
                  <a:pt x="2881839" y="3853290"/>
                  <a:pt x="1925816" y="3853290"/>
                </a:cubicBezTo>
                <a:cubicBezTo>
                  <a:pt x="863952" y="3853290"/>
                  <a:pt x="0" y="2989465"/>
                  <a:pt x="0" y="1927474"/>
                </a:cubicBezTo>
                <a:cubicBezTo>
                  <a:pt x="0" y="865482"/>
                  <a:pt x="863952" y="1658"/>
                  <a:pt x="1925816" y="1658"/>
                </a:cubicBezTo>
                <a:cubicBezTo>
                  <a:pt x="2881966" y="1658"/>
                  <a:pt x="3677184" y="702001"/>
                  <a:pt x="3826384" y="1616579"/>
                </a:cubicBezTo>
                <a:lnTo>
                  <a:pt x="3826384" y="107372"/>
                </a:lnTo>
                <a:lnTo>
                  <a:pt x="4923826" y="107372"/>
                </a:lnTo>
                <a:lnTo>
                  <a:pt x="4923826" y="608528"/>
                </a:lnTo>
                <a:lnTo>
                  <a:pt x="4945249" y="608528"/>
                </a:lnTo>
                <a:cubicBezTo>
                  <a:pt x="5217251" y="214745"/>
                  <a:pt x="5567933" y="0"/>
                  <a:pt x="6076230" y="0"/>
                </a:cubicBez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3" name="Title 1">
            <a:extLst>
              <a:ext uri="{FF2B5EF4-FFF2-40B4-BE49-F238E27FC236}">
                <a16:creationId xmlns:a16="http://schemas.microsoft.com/office/drawing/2014/main" id="{EDB2E5A9-6008-5D15-CCB3-43F22C75BDC1}"/>
              </a:ext>
            </a:extLst>
          </p:cNvPr>
          <p:cNvSpPr>
            <a:spLocks noGrp="1"/>
          </p:cNvSpPr>
          <p:nvPr>
            <p:ph type="ctrTitle" hasCustomPrompt="1"/>
          </p:nvPr>
        </p:nvSpPr>
        <p:spPr>
          <a:xfrm>
            <a:off x="744122" y="853544"/>
            <a:ext cx="10842844" cy="589626"/>
          </a:xfrm>
        </p:spPr>
        <p:txBody>
          <a:bodyPr anchor="t" anchorCtr="0"/>
          <a:lstStyle>
            <a:lvl1pPr algn="l">
              <a:defRPr sz="3000">
                <a:solidFill>
                  <a:schemeClr val="tx1"/>
                </a:solidFill>
              </a:defRPr>
            </a:lvl1pPr>
          </a:lstStyle>
          <a:p>
            <a:r>
              <a:rPr lang="en-US"/>
              <a:t>Your text here</a:t>
            </a:r>
            <a:endParaRPr lang="en-AU"/>
          </a:p>
        </p:txBody>
      </p:sp>
      <p:sp>
        <p:nvSpPr>
          <p:cNvPr id="7" name="Subtitle 2">
            <a:extLst>
              <a:ext uri="{FF2B5EF4-FFF2-40B4-BE49-F238E27FC236}">
                <a16:creationId xmlns:a16="http://schemas.microsoft.com/office/drawing/2014/main" id="{58ED0D17-46B1-DFA1-0D7D-38C622D9A821}"/>
              </a:ext>
            </a:extLst>
          </p:cNvPr>
          <p:cNvSpPr>
            <a:spLocks noGrp="1"/>
          </p:cNvSpPr>
          <p:nvPr>
            <p:ph type="subTitle" idx="1" hasCustomPrompt="1"/>
          </p:nvPr>
        </p:nvSpPr>
        <p:spPr>
          <a:xfrm>
            <a:off x="744122" y="6147435"/>
            <a:ext cx="8620506" cy="37189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15" name="Text Placeholder 13">
            <a:extLst>
              <a:ext uri="{FF2B5EF4-FFF2-40B4-BE49-F238E27FC236}">
                <a16:creationId xmlns:a16="http://schemas.microsoft.com/office/drawing/2014/main" id="{E749B708-1F30-8E6F-79E4-3388A014AAF8}"/>
              </a:ext>
            </a:extLst>
          </p:cNvPr>
          <p:cNvSpPr>
            <a:spLocks noGrp="1"/>
          </p:cNvSpPr>
          <p:nvPr>
            <p:ph type="body" sz="quarter" idx="10" hasCustomPrompt="1"/>
          </p:nvPr>
        </p:nvSpPr>
        <p:spPr>
          <a:xfrm>
            <a:off x="704232" y="3288479"/>
            <a:ext cx="3542400" cy="6912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4" name="Rectangle 3">
            <a:extLst>
              <a:ext uri="{FF2B5EF4-FFF2-40B4-BE49-F238E27FC236}">
                <a16:creationId xmlns:a16="http://schemas.microsoft.com/office/drawing/2014/main" id="{C338E7B4-3168-8DB3-79F0-FC101F964B3C}"/>
              </a:ext>
            </a:extLst>
          </p:cNvPr>
          <p:cNvSpPr/>
          <p:nvPr userDrawn="1"/>
        </p:nvSpPr>
        <p:spPr>
          <a:xfrm>
            <a:off x="0" y="0"/>
            <a:ext cx="12192000" cy="136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3485550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6" name="Title 5">
            <a:extLst>
              <a:ext uri="{FF2B5EF4-FFF2-40B4-BE49-F238E27FC236}">
                <a16:creationId xmlns:a16="http://schemas.microsoft.com/office/drawing/2014/main" id="{368C66C4-0FD9-473D-93DC-CAE02AB7AA74}"/>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A0D813EC-9BCE-99FC-933F-CDF2AE7FE0B5}"/>
              </a:ext>
            </a:extLst>
          </p:cNvPr>
          <p:cNvSpPr>
            <a:spLocks noGrp="1"/>
          </p:cNvSpPr>
          <p:nvPr>
            <p:ph sz="quarter" idx="17"/>
          </p:nvPr>
        </p:nvSpPr>
        <p:spPr>
          <a:xfrm>
            <a:off x="479425" y="1484784"/>
            <a:ext cx="3330575" cy="4408016"/>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Content Placeholder 11">
            <a:extLst>
              <a:ext uri="{FF2B5EF4-FFF2-40B4-BE49-F238E27FC236}">
                <a16:creationId xmlns:a16="http://schemas.microsoft.com/office/drawing/2014/main" id="{89AECD12-C26F-B373-9B0C-4D2CFA186484}"/>
              </a:ext>
            </a:extLst>
          </p:cNvPr>
          <p:cNvSpPr>
            <a:spLocks noGrp="1"/>
          </p:cNvSpPr>
          <p:nvPr>
            <p:ph sz="quarter" idx="18"/>
          </p:nvPr>
        </p:nvSpPr>
        <p:spPr>
          <a:xfrm>
            <a:off x="4439816" y="1484784"/>
            <a:ext cx="3330575" cy="4408016"/>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9A851499-666B-FC4E-E5EB-E1D3DB16C543}"/>
              </a:ext>
            </a:extLst>
          </p:cNvPr>
          <p:cNvSpPr>
            <a:spLocks noGrp="1"/>
          </p:cNvSpPr>
          <p:nvPr>
            <p:ph sz="quarter" idx="19"/>
          </p:nvPr>
        </p:nvSpPr>
        <p:spPr>
          <a:xfrm>
            <a:off x="8400256" y="1484784"/>
            <a:ext cx="3330575" cy="4408016"/>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C53C1D77-9BEB-6B79-0680-6CFB5028A23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3403684"/>
      </p:ext>
    </p:extLst>
  </p:cSld>
  <p:clrMapOvr>
    <a:masterClrMapping/>
  </p:clrMapOvr>
  <p:extLst>
    <p:ext uri="{DCECCB84-F9BA-43D5-87BE-67443E8EF086}">
      <p15:sldGuideLst xmlns:p15="http://schemas.microsoft.com/office/powerpoint/2012/main">
        <p15:guide id="5" pos="4906" userDrawn="1">
          <p15:clr>
            <a:srgbClr val="FBAE40"/>
          </p15:clr>
        </p15:guide>
        <p15:guide id="6" pos="5290" userDrawn="1">
          <p15:clr>
            <a:srgbClr val="FBAE40"/>
          </p15:clr>
        </p15:guide>
        <p15:guide id="7" pos="2400" userDrawn="1">
          <p15:clr>
            <a:srgbClr val="FBAE40"/>
          </p15:clr>
        </p15:guide>
        <p15:guide id="8" pos="280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_highligh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BC28D97-2035-AB97-3EDD-6E31A2EA427E}"/>
              </a:ext>
            </a:extLst>
          </p:cNvPr>
          <p:cNvSpPr>
            <a:spLocks noGrp="1"/>
          </p:cNvSpPr>
          <p:nvPr>
            <p:ph type="body" sz="quarter" idx="17" hasCustomPrompt="1"/>
          </p:nvPr>
        </p:nvSpPr>
        <p:spPr>
          <a:xfrm>
            <a:off x="8397875" y="138818"/>
            <a:ext cx="3794125" cy="6719182"/>
          </a:xfrm>
          <a:solidFill>
            <a:schemeClr val="accent5"/>
          </a:solidFill>
          <a:ln w="662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AU" sz="1800" dirty="0">
                <a:latin typeface="+mn-lt"/>
              </a:defRPr>
            </a:lvl1pPr>
          </a:lstStyle>
          <a:p>
            <a:pPr lvl="0"/>
            <a:r>
              <a:rPr lang="en-US"/>
              <a:t> </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7308849" cy="297717"/>
          </a:xfrm>
        </p:spPr>
        <p:txBody>
          <a:bodyPr/>
          <a:lstStyle>
            <a:lvl1pPr>
              <a:defRPr sz="1800">
                <a:solidFill>
                  <a:schemeClr val="accent1"/>
                </a:solidFill>
              </a:defRPr>
            </a:lvl1pPr>
          </a:lstStyle>
          <a:p>
            <a:pPr lvl="0"/>
            <a:r>
              <a:rPr lang="en-US"/>
              <a:t>Subheading Goes Here</a:t>
            </a:r>
            <a:endParaRPr lang="en-AU"/>
          </a:p>
        </p:txBody>
      </p:sp>
      <p:sp>
        <p:nvSpPr>
          <p:cNvPr id="14" name="Content Placeholder 10">
            <a:extLst>
              <a:ext uri="{FF2B5EF4-FFF2-40B4-BE49-F238E27FC236}">
                <a16:creationId xmlns:a16="http://schemas.microsoft.com/office/drawing/2014/main" id="{661E871E-28CF-C98E-F17D-B14A6BB3096E}"/>
              </a:ext>
            </a:extLst>
          </p:cNvPr>
          <p:cNvSpPr>
            <a:spLocks noGrp="1"/>
          </p:cNvSpPr>
          <p:nvPr>
            <p:ph sz="quarter" idx="16"/>
          </p:nvPr>
        </p:nvSpPr>
        <p:spPr>
          <a:xfrm>
            <a:off x="8844280" y="608013"/>
            <a:ext cx="2886551" cy="5284787"/>
          </a:xfrm>
        </p:spPr>
        <p:txBody>
          <a:bodyPr/>
          <a:lstStyle>
            <a:lvl1pPr>
              <a:defRPr>
                <a:solidFill>
                  <a:schemeClr val="bg1"/>
                </a:solidFill>
              </a:defRPr>
            </a:lvl1pPr>
            <a:lvl2pPr marL="180000" indent="-180000">
              <a:spcAft>
                <a:spcPts val="600"/>
              </a:spcAft>
              <a:buFont typeface="Arial" panose="020B0604020202020204" pitchFamily="34" charset="0"/>
              <a:buChar char="•"/>
              <a:defRPr>
                <a:solidFill>
                  <a:schemeClr val="bg1"/>
                </a:solidFill>
              </a:defRPr>
            </a:lvl2pPr>
            <a:lvl3pPr marL="360363" indent="-180000">
              <a:spcAft>
                <a:spcPts val="600"/>
              </a:spcAft>
              <a:buFont typeface="Arial" panose="020B0604020202020204" pitchFamily="34" charset="0"/>
              <a:buChar char="•"/>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5">
            <a:extLst>
              <a:ext uri="{FF2B5EF4-FFF2-40B4-BE49-F238E27FC236}">
                <a16:creationId xmlns:a16="http://schemas.microsoft.com/office/drawing/2014/main" id="{BF149A2C-06B3-3883-18C8-0531B6C5D7C5}"/>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Title 6">
            <a:extLst>
              <a:ext uri="{FF2B5EF4-FFF2-40B4-BE49-F238E27FC236}">
                <a16:creationId xmlns:a16="http://schemas.microsoft.com/office/drawing/2014/main" id="{EA35B0A0-5E0E-CC61-F7CD-82822F0E7AFA}"/>
              </a:ext>
            </a:extLst>
          </p:cNvPr>
          <p:cNvSpPr>
            <a:spLocks noGrp="1"/>
          </p:cNvSpPr>
          <p:nvPr>
            <p:ph type="title"/>
          </p:nvPr>
        </p:nvSpPr>
        <p:spPr>
          <a:xfrm>
            <a:off x="479425" y="604203"/>
            <a:ext cx="7308850" cy="746695"/>
          </a:xfrm>
        </p:spPr>
        <p:txBody>
          <a:bodyPr/>
          <a:lstStyle/>
          <a:p>
            <a:r>
              <a:rPr lang="en-US"/>
              <a:t>Click to edit Master title style</a:t>
            </a:r>
            <a:endParaRPr lang="en-AU"/>
          </a:p>
        </p:txBody>
      </p:sp>
      <p:sp>
        <p:nvSpPr>
          <p:cNvPr id="6" name="Content Placeholder 5">
            <a:extLst>
              <a:ext uri="{FF2B5EF4-FFF2-40B4-BE49-F238E27FC236}">
                <a16:creationId xmlns:a16="http://schemas.microsoft.com/office/drawing/2014/main" id="{15341996-077E-07B1-9D56-2CD9D9799D0C}"/>
              </a:ext>
            </a:extLst>
          </p:cNvPr>
          <p:cNvSpPr>
            <a:spLocks noGrp="1"/>
          </p:cNvSpPr>
          <p:nvPr>
            <p:ph sz="quarter" idx="36"/>
          </p:nvPr>
        </p:nvSpPr>
        <p:spPr>
          <a:xfrm>
            <a:off x="479425" y="2097088"/>
            <a:ext cx="3330575" cy="3795712"/>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Content Placeholder 15">
            <a:extLst>
              <a:ext uri="{FF2B5EF4-FFF2-40B4-BE49-F238E27FC236}">
                <a16:creationId xmlns:a16="http://schemas.microsoft.com/office/drawing/2014/main" id="{BED72D46-50DD-71DE-559E-B18BBB86CFF5}"/>
              </a:ext>
            </a:extLst>
          </p:cNvPr>
          <p:cNvSpPr>
            <a:spLocks noGrp="1"/>
          </p:cNvSpPr>
          <p:nvPr>
            <p:ph sz="quarter" idx="37"/>
          </p:nvPr>
        </p:nvSpPr>
        <p:spPr>
          <a:xfrm>
            <a:off x="4439815" y="2097088"/>
            <a:ext cx="3330000" cy="3795712"/>
          </a:xfrm>
          <a:custGeom>
            <a:avLst/>
            <a:gdLst>
              <a:gd name="connsiteX0" fmla="*/ 0 w 3330000"/>
              <a:gd name="connsiteY0" fmla="*/ 0 h 3795712"/>
              <a:gd name="connsiteX1" fmla="*/ 3330000 w 3330000"/>
              <a:gd name="connsiteY1" fmla="*/ 0 h 3795712"/>
              <a:gd name="connsiteX2" fmla="*/ 3330000 w 3330000"/>
              <a:gd name="connsiteY2" fmla="*/ 3795712 h 3795712"/>
              <a:gd name="connsiteX3" fmla="*/ 0 w 33300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000" h="3795712">
                <a:moveTo>
                  <a:pt x="0" y="0"/>
                </a:moveTo>
                <a:lnTo>
                  <a:pt x="3330000" y="0"/>
                </a:lnTo>
                <a:lnTo>
                  <a:pt x="33300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6BD5AE7F-0AE6-19E5-C556-562156733FE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509034891"/>
      </p:ext>
    </p:extLst>
  </p:cSld>
  <p:clrMapOvr>
    <a:masterClrMapping/>
  </p:clrMapOvr>
  <p:extLst>
    <p:ext uri="{DCECCB84-F9BA-43D5-87BE-67443E8EF086}">
      <p15:sldGuideLst xmlns:p15="http://schemas.microsoft.com/office/powerpoint/2012/main">
        <p15:guide id="5" pos="4906" userDrawn="1">
          <p15:clr>
            <a:srgbClr val="FBAE40"/>
          </p15:clr>
        </p15:guide>
        <p15:guide id="6" pos="5290" userDrawn="1">
          <p15:clr>
            <a:srgbClr val="FBAE40"/>
          </p15:clr>
        </p15:guide>
        <p15:guide id="7" pos="2400" userDrawn="1">
          <p15:clr>
            <a:srgbClr val="FBAE40"/>
          </p15:clr>
        </p15:guide>
        <p15:guide id="8" pos="280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3 Column_highligh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BC28D97-2035-AB97-3EDD-6E31A2EA427E}"/>
              </a:ext>
            </a:extLst>
          </p:cNvPr>
          <p:cNvSpPr>
            <a:spLocks noGrp="1"/>
          </p:cNvSpPr>
          <p:nvPr>
            <p:ph type="body" sz="quarter" idx="17" hasCustomPrompt="1"/>
          </p:nvPr>
        </p:nvSpPr>
        <p:spPr>
          <a:xfrm>
            <a:off x="8397875" y="138818"/>
            <a:ext cx="3794125" cy="6719182"/>
          </a:xfrm>
          <a:solidFill>
            <a:schemeClr val="accent2"/>
          </a:solidFill>
          <a:ln w="662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AU" sz="1800" dirty="0">
                <a:latin typeface="+mn-lt"/>
              </a:defRPr>
            </a:lvl1pPr>
          </a:lstStyle>
          <a:p>
            <a:pPr lvl="0"/>
            <a:r>
              <a:rPr lang="en-US"/>
              <a:t> </a:t>
            </a:r>
            <a:endParaRPr lang="en-AU"/>
          </a:p>
        </p:txBody>
      </p:sp>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14" name="Content Placeholder 10">
            <a:extLst>
              <a:ext uri="{FF2B5EF4-FFF2-40B4-BE49-F238E27FC236}">
                <a16:creationId xmlns:a16="http://schemas.microsoft.com/office/drawing/2014/main" id="{661E871E-28CF-C98E-F17D-B14A6BB3096E}"/>
              </a:ext>
            </a:extLst>
          </p:cNvPr>
          <p:cNvSpPr>
            <a:spLocks noGrp="1"/>
          </p:cNvSpPr>
          <p:nvPr>
            <p:ph sz="quarter" idx="16"/>
          </p:nvPr>
        </p:nvSpPr>
        <p:spPr>
          <a:xfrm>
            <a:off x="8844280" y="608013"/>
            <a:ext cx="2886551" cy="5284787"/>
          </a:xfrm>
        </p:spPr>
        <p:txBody>
          <a:bodyPr/>
          <a:lstStyle>
            <a:lvl1pPr>
              <a:defRPr>
                <a:solidFill>
                  <a:schemeClr val="tx1"/>
                </a:solidFill>
              </a:defRPr>
            </a:lvl1pPr>
            <a:lvl2pPr marL="180000" indent="-180000">
              <a:spcAft>
                <a:spcPts val="600"/>
              </a:spcAft>
              <a:buFont typeface="Arial" panose="020B0604020202020204" pitchFamily="34" charset="0"/>
              <a:buChar char="•"/>
              <a:defRPr>
                <a:solidFill>
                  <a:schemeClr val="tx1"/>
                </a:solidFill>
              </a:defRPr>
            </a:lvl2pPr>
            <a:lvl3pPr marL="360363" indent="-180000">
              <a:spcAft>
                <a:spcPts val="600"/>
              </a:spcAft>
              <a:buFont typeface="Arial" panose="020B0604020202020204" pitchFamily="34" charset="0"/>
              <a:buChar char="•"/>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5">
            <a:extLst>
              <a:ext uri="{FF2B5EF4-FFF2-40B4-BE49-F238E27FC236}">
                <a16:creationId xmlns:a16="http://schemas.microsoft.com/office/drawing/2014/main" id="{BF149A2C-06B3-3883-18C8-0531B6C5D7C5}"/>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Title 6">
            <a:extLst>
              <a:ext uri="{FF2B5EF4-FFF2-40B4-BE49-F238E27FC236}">
                <a16:creationId xmlns:a16="http://schemas.microsoft.com/office/drawing/2014/main" id="{EA35B0A0-5E0E-CC61-F7CD-82822F0E7AFA}"/>
              </a:ext>
            </a:extLst>
          </p:cNvPr>
          <p:cNvSpPr>
            <a:spLocks noGrp="1"/>
          </p:cNvSpPr>
          <p:nvPr>
            <p:ph type="title"/>
          </p:nvPr>
        </p:nvSpPr>
        <p:spPr>
          <a:xfrm>
            <a:off x="479425" y="604203"/>
            <a:ext cx="7308850" cy="746695"/>
          </a:xfrm>
        </p:spPr>
        <p:txBody>
          <a:bodyPr/>
          <a:lstStyle/>
          <a:p>
            <a:r>
              <a:rPr lang="en-US"/>
              <a:t>Click to edit Master title style</a:t>
            </a:r>
            <a:endParaRPr lang="en-AU"/>
          </a:p>
        </p:txBody>
      </p:sp>
      <p:sp>
        <p:nvSpPr>
          <p:cNvPr id="6" name="Content Placeholder 5">
            <a:extLst>
              <a:ext uri="{FF2B5EF4-FFF2-40B4-BE49-F238E27FC236}">
                <a16:creationId xmlns:a16="http://schemas.microsoft.com/office/drawing/2014/main" id="{15341996-077E-07B1-9D56-2CD9D9799D0C}"/>
              </a:ext>
            </a:extLst>
          </p:cNvPr>
          <p:cNvSpPr>
            <a:spLocks noGrp="1"/>
          </p:cNvSpPr>
          <p:nvPr>
            <p:ph sz="quarter" idx="36"/>
          </p:nvPr>
        </p:nvSpPr>
        <p:spPr>
          <a:xfrm>
            <a:off x="479425" y="1484784"/>
            <a:ext cx="3330575" cy="4408016"/>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Content Placeholder 15">
            <a:extLst>
              <a:ext uri="{FF2B5EF4-FFF2-40B4-BE49-F238E27FC236}">
                <a16:creationId xmlns:a16="http://schemas.microsoft.com/office/drawing/2014/main" id="{BED72D46-50DD-71DE-559E-B18BBB86CFF5}"/>
              </a:ext>
            </a:extLst>
          </p:cNvPr>
          <p:cNvSpPr>
            <a:spLocks noGrp="1"/>
          </p:cNvSpPr>
          <p:nvPr>
            <p:ph sz="quarter" idx="37"/>
          </p:nvPr>
        </p:nvSpPr>
        <p:spPr>
          <a:xfrm>
            <a:off x="4439815" y="1484784"/>
            <a:ext cx="3330000" cy="4408016"/>
          </a:xfrm>
          <a:custGeom>
            <a:avLst/>
            <a:gdLst>
              <a:gd name="connsiteX0" fmla="*/ 0 w 3330000"/>
              <a:gd name="connsiteY0" fmla="*/ 0 h 3795712"/>
              <a:gd name="connsiteX1" fmla="*/ 3330000 w 3330000"/>
              <a:gd name="connsiteY1" fmla="*/ 0 h 3795712"/>
              <a:gd name="connsiteX2" fmla="*/ 3330000 w 3330000"/>
              <a:gd name="connsiteY2" fmla="*/ 3795712 h 3795712"/>
              <a:gd name="connsiteX3" fmla="*/ 0 w 33300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000" h="3795712">
                <a:moveTo>
                  <a:pt x="0" y="0"/>
                </a:moveTo>
                <a:lnTo>
                  <a:pt x="3330000" y="0"/>
                </a:lnTo>
                <a:lnTo>
                  <a:pt x="33300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266891AA-D224-AD02-0CC7-9E49AC011316}"/>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247537075"/>
      </p:ext>
    </p:extLst>
  </p:cSld>
  <p:clrMapOvr>
    <a:masterClrMapping/>
  </p:clrMapOvr>
  <p:extLst>
    <p:ext uri="{DCECCB84-F9BA-43D5-87BE-67443E8EF086}">
      <p15:sldGuideLst xmlns:p15="http://schemas.microsoft.com/office/powerpoint/2012/main">
        <p15:guide id="5" pos="4906" userDrawn="1">
          <p15:clr>
            <a:srgbClr val="FBAE40"/>
          </p15:clr>
        </p15:guide>
        <p15:guide id="6" pos="5290" userDrawn="1">
          <p15:clr>
            <a:srgbClr val="FBAE40"/>
          </p15:clr>
        </p15:guide>
        <p15:guide id="7" pos="2400" userDrawn="1">
          <p15:clr>
            <a:srgbClr val="FBAE40"/>
          </p15:clr>
        </p15:guide>
        <p15:guide id="8" pos="28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 with gradient + stats">
    <p:spTree>
      <p:nvGrpSpPr>
        <p:cNvPr id="1" name=""/>
        <p:cNvGrpSpPr/>
        <p:nvPr/>
      </p:nvGrpSpPr>
      <p:grpSpPr>
        <a:xfrm>
          <a:off x="0" y="0"/>
          <a:ext cx="0" cy="0"/>
          <a:chOff x="0" y="0"/>
          <a:chExt cx="0" cy="0"/>
        </a:xfrm>
      </p:grpSpPr>
      <p:pic>
        <p:nvPicPr>
          <p:cNvPr id="19" name="Picture 18" descr="Background pattern&#10;&#10;Description automatically generated">
            <a:extLst>
              <a:ext uri="{FF2B5EF4-FFF2-40B4-BE49-F238E27FC236}">
                <a16:creationId xmlns:a16="http://schemas.microsoft.com/office/drawing/2014/main" id="{7B6A36C7-3C4C-6F44-A682-3C904FFB9DD6}"/>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8388626" y="129210"/>
            <a:ext cx="3815374" cy="6735362"/>
          </a:xfrm>
          <a:prstGeom prst="rect">
            <a:avLst/>
          </a:prstGeom>
        </p:spPr>
      </p:pic>
      <p:sp>
        <p:nvSpPr>
          <p:cNvPr id="16" name="Text Placeholder 5">
            <a:extLst>
              <a:ext uri="{FF2B5EF4-FFF2-40B4-BE49-F238E27FC236}">
                <a16:creationId xmlns:a16="http://schemas.microsoft.com/office/drawing/2014/main" id="{6A696E66-E379-747C-372D-3C9E50D7591E}"/>
              </a:ext>
            </a:extLst>
          </p:cNvPr>
          <p:cNvSpPr>
            <a:spLocks noGrp="1" noChangeAspect="1"/>
          </p:cNvSpPr>
          <p:nvPr>
            <p:ph type="body" sz="quarter" idx="35" hasCustomPrompt="1"/>
          </p:nvPr>
        </p:nvSpPr>
        <p:spPr>
          <a:xfrm>
            <a:off x="10904437" y="6170930"/>
            <a:ext cx="825600" cy="288000"/>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AU"/>
          </a:p>
        </p:txBody>
      </p:sp>
      <p:sp>
        <p:nvSpPr>
          <p:cNvPr id="7" name="Text Placeholder 19">
            <a:extLst>
              <a:ext uri="{FF2B5EF4-FFF2-40B4-BE49-F238E27FC236}">
                <a16:creationId xmlns:a16="http://schemas.microsoft.com/office/drawing/2014/main" id="{7D72516D-F692-1B97-3589-074363FD88A3}"/>
              </a:ext>
            </a:extLst>
          </p:cNvPr>
          <p:cNvSpPr>
            <a:spLocks noGrp="1"/>
          </p:cNvSpPr>
          <p:nvPr>
            <p:ph type="body" sz="quarter" idx="25" hasCustomPrompt="1"/>
          </p:nvPr>
        </p:nvSpPr>
        <p:spPr>
          <a:xfrm>
            <a:off x="9978509" y="944563"/>
            <a:ext cx="1756291" cy="1050925"/>
          </a:xfrm>
        </p:spPr>
        <p:txBody>
          <a:bodyPr/>
          <a:lstStyle>
            <a:lvl1pPr>
              <a:lnSpc>
                <a:spcPct val="90000"/>
              </a:lnSpc>
              <a:spcBef>
                <a:spcPts val="0"/>
              </a:spcBef>
              <a:spcAft>
                <a:spcPts val="0"/>
              </a:spcAft>
              <a:defRPr lang="en-US" sz="4400" b="1" kern="1200" dirty="0" smtClean="0">
                <a:solidFill>
                  <a:schemeClr val="tx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0" name="Text Placeholder 19">
            <a:extLst>
              <a:ext uri="{FF2B5EF4-FFF2-40B4-BE49-F238E27FC236}">
                <a16:creationId xmlns:a16="http://schemas.microsoft.com/office/drawing/2014/main" id="{AFF39926-296F-73A4-D52C-03F12B8868FB}"/>
              </a:ext>
            </a:extLst>
          </p:cNvPr>
          <p:cNvSpPr>
            <a:spLocks noGrp="1"/>
          </p:cNvSpPr>
          <p:nvPr>
            <p:ph type="body" sz="quarter" idx="29" hasCustomPrompt="1"/>
          </p:nvPr>
        </p:nvSpPr>
        <p:spPr>
          <a:xfrm>
            <a:off x="9978509" y="2784311"/>
            <a:ext cx="1756291" cy="1050925"/>
          </a:xfrm>
        </p:spPr>
        <p:txBody>
          <a:bodyPr/>
          <a:lstStyle>
            <a:lvl1pPr>
              <a:lnSpc>
                <a:spcPct val="90000"/>
              </a:lnSpc>
              <a:spcBef>
                <a:spcPts val="0"/>
              </a:spcBef>
              <a:spcAft>
                <a:spcPts val="0"/>
              </a:spcAft>
              <a:defRPr lang="en-US" sz="4400" b="1" kern="1200" dirty="0" smtClean="0">
                <a:solidFill>
                  <a:schemeClr val="tx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4" name="Text Placeholder 19">
            <a:extLst>
              <a:ext uri="{FF2B5EF4-FFF2-40B4-BE49-F238E27FC236}">
                <a16:creationId xmlns:a16="http://schemas.microsoft.com/office/drawing/2014/main" id="{11138145-03AA-1246-9493-04F5FA5F5002}"/>
              </a:ext>
            </a:extLst>
          </p:cNvPr>
          <p:cNvSpPr>
            <a:spLocks noGrp="1"/>
          </p:cNvSpPr>
          <p:nvPr>
            <p:ph type="body" sz="quarter" idx="31" hasCustomPrompt="1"/>
          </p:nvPr>
        </p:nvSpPr>
        <p:spPr>
          <a:xfrm>
            <a:off x="9978509" y="4624059"/>
            <a:ext cx="1756291" cy="1050925"/>
          </a:xfrm>
        </p:spPr>
        <p:txBody>
          <a:bodyPr/>
          <a:lstStyle>
            <a:lvl1pPr>
              <a:lnSpc>
                <a:spcPct val="90000"/>
              </a:lnSpc>
              <a:spcBef>
                <a:spcPts val="0"/>
              </a:spcBef>
              <a:spcAft>
                <a:spcPts val="0"/>
              </a:spcAft>
              <a:defRPr lang="en-US" sz="4400" b="1" kern="1200" dirty="0" smtClean="0">
                <a:solidFill>
                  <a:schemeClr val="tx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1" name="Slide Number Placeholder 10">
            <a:extLst>
              <a:ext uri="{FF2B5EF4-FFF2-40B4-BE49-F238E27FC236}">
                <a16:creationId xmlns:a16="http://schemas.microsoft.com/office/drawing/2014/main" id="{864A06F1-A014-EB7F-F310-5C4D2D3C1417}"/>
              </a:ext>
            </a:extLst>
          </p:cNvPr>
          <p:cNvSpPr>
            <a:spLocks noGrp="1"/>
          </p:cNvSpPr>
          <p:nvPr>
            <p:ph type="sldNum" sz="quarter" idx="32"/>
          </p:nvPr>
        </p:nvSpPr>
        <p:spPr/>
        <p:txBody>
          <a:bodyPr/>
          <a:lstStyle/>
          <a:p>
            <a:fld id="{E4C2AD82-1025-4508-97C1-6F7EE5C92734}" type="slidenum">
              <a:rPr lang="en-AU" smtClean="0"/>
              <a:pPr/>
              <a:t>‹#›</a:t>
            </a:fld>
            <a:endParaRPr lang="en-AU"/>
          </a:p>
        </p:txBody>
      </p:sp>
      <p:sp>
        <p:nvSpPr>
          <p:cNvPr id="18" name="Content Placeholder 2">
            <a:extLst>
              <a:ext uri="{FF2B5EF4-FFF2-40B4-BE49-F238E27FC236}">
                <a16:creationId xmlns:a16="http://schemas.microsoft.com/office/drawing/2014/main" id="{32141CE2-9C26-A2CA-08EE-C6A10E4064D6}"/>
              </a:ext>
            </a:extLst>
          </p:cNvPr>
          <p:cNvSpPr>
            <a:spLocks noGrp="1"/>
          </p:cNvSpPr>
          <p:nvPr>
            <p:ph idx="13" hasCustomPrompt="1"/>
          </p:nvPr>
        </p:nvSpPr>
        <p:spPr>
          <a:xfrm>
            <a:off x="479425" y="1484784"/>
            <a:ext cx="7308849" cy="297717"/>
          </a:xfrm>
        </p:spPr>
        <p:txBody>
          <a:bodyPr/>
          <a:lstStyle>
            <a:lvl1pPr>
              <a:defRPr sz="1800">
                <a:solidFill>
                  <a:schemeClr val="accent1"/>
                </a:solidFill>
              </a:defRPr>
            </a:lvl1pPr>
          </a:lstStyle>
          <a:p>
            <a:pPr lvl="0"/>
            <a:r>
              <a:rPr lang="en-US"/>
              <a:t>Subheading Goes Here</a:t>
            </a:r>
            <a:endParaRPr lang="en-AU"/>
          </a:p>
        </p:txBody>
      </p:sp>
      <p:sp>
        <p:nvSpPr>
          <p:cNvPr id="2" name="Title 1">
            <a:extLst>
              <a:ext uri="{FF2B5EF4-FFF2-40B4-BE49-F238E27FC236}">
                <a16:creationId xmlns:a16="http://schemas.microsoft.com/office/drawing/2014/main" id="{BEA78227-0507-6958-6B32-E761B7579CA7}"/>
              </a:ext>
            </a:extLst>
          </p:cNvPr>
          <p:cNvSpPr>
            <a:spLocks noGrp="1"/>
          </p:cNvSpPr>
          <p:nvPr>
            <p:ph type="title"/>
          </p:nvPr>
        </p:nvSpPr>
        <p:spPr>
          <a:xfrm>
            <a:off x="479425" y="608013"/>
            <a:ext cx="7310337" cy="746695"/>
          </a:xfrm>
        </p:spPr>
        <p:txBody>
          <a:bodyPr/>
          <a:lstStyle/>
          <a:p>
            <a:r>
              <a:rPr lang="en-US"/>
              <a:t>Click to edit Master title style</a:t>
            </a:r>
            <a:endParaRPr lang="en-AU"/>
          </a:p>
        </p:txBody>
      </p:sp>
      <p:sp>
        <p:nvSpPr>
          <p:cNvPr id="21" name="Content Placeholder 20">
            <a:extLst>
              <a:ext uri="{FF2B5EF4-FFF2-40B4-BE49-F238E27FC236}">
                <a16:creationId xmlns:a16="http://schemas.microsoft.com/office/drawing/2014/main" id="{541BB8E3-6D65-F59D-0124-63F5B64B5806}"/>
              </a:ext>
            </a:extLst>
          </p:cNvPr>
          <p:cNvSpPr>
            <a:spLocks noGrp="1"/>
          </p:cNvSpPr>
          <p:nvPr>
            <p:ph sz="quarter" idx="15"/>
          </p:nvPr>
        </p:nvSpPr>
        <p:spPr>
          <a:xfrm>
            <a:off x="4439815" y="2097088"/>
            <a:ext cx="3330000" cy="3795712"/>
          </a:xfrm>
          <a:custGeom>
            <a:avLst/>
            <a:gdLst>
              <a:gd name="connsiteX0" fmla="*/ 0 w 3330000"/>
              <a:gd name="connsiteY0" fmla="*/ 0 h 3795712"/>
              <a:gd name="connsiteX1" fmla="*/ 3330000 w 3330000"/>
              <a:gd name="connsiteY1" fmla="*/ 0 h 3795712"/>
              <a:gd name="connsiteX2" fmla="*/ 3330000 w 3330000"/>
              <a:gd name="connsiteY2" fmla="*/ 3795712 h 3795712"/>
              <a:gd name="connsiteX3" fmla="*/ 0 w 33300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000" h="3795712">
                <a:moveTo>
                  <a:pt x="0" y="0"/>
                </a:moveTo>
                <a:lnTo>
                  <a:pt x="3330000" y="0"/>
                </a:lnTo>
                <a:lnTo>
                  <a:pt x="33300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B693DBAB-2D99-0A01-0DFF-452CDAE07D64}"/>
              </a:ext>
            </a:extLst>
          </p:cNvPr>
          <p:cNvSpPr>
            <a:spLocks noGrp="1"/>
          </p:cNvSpPr>
          <p:nvPr>
            <p:ph sz="quarter" idx="36"/>
          </p:nvPr>
        </p:nvSpPr>
        <p:spPr>
          <a:xfrm>
            <a:off x="479425" y="2097088"/>
            <a:ext cx="3330575" cy="3795712"/>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5">
            <a:extLst>
              <a:ext uri="{FF2B5EF4-FFF2-40B4-BE49-F238E27FC236}">
                <a16:creationId xmlns:a16="http://schemas.microsoft.com/office/drawing/2014/main" id="{3AA284B2-228F-36FD-CB3E-36BD912877BA}"/>
              </a:ext>
            </a:extLst>
          </p:cNvPr>
          <p:cNvSpPr>
            <a:spLocks noGrp="1"/>
          </p:cNvSpPr>
          <p:nvPr>
            <p:ph type="pic" sz="quarter" idx="37"/>
          </p:nvPr>
        </p:nvSpPr>
        <p:spPr>
          <a:xfrm>
            <a:off x="9292982" y="944563"/>
            <a:ext cx="522000" cy="522000"/>
          </a:xfrm>
        </p:spPr>
        <p:txBody>
          <a:bodyPr/>
          <a:lstStyle>
            <a:lvl1pPr>
              <a:defRPr sz="800"/>
            </a:lvl1pPr>
          </a:lstStyle>
          <a:p>
            <a:r>
              <a:rPr lang="en-US"/>
              <a:t>Click icon to add picture</a:t>
            </a:r>
            <a:endParaRPr lang="en-GB"/>
          </a:p>
        </p:txBody>
      </p:sp>
      <p:sp>
        <p:nvSpPr>
          <p:cNvPr id="8" name="Picture Placeholder 5">
            <a:extLst>
              <a:ext uri="{FF2B5EF4-FFF2-40B4-BE49-F238E27FC236}">
                <a16:creationId xmlns:a16="http://schemas.microsoft.com/office/drawing/2014/main" id="{FE6D6E5D-A07E-1801-2397-418652757078}"/>
              </a:ext>
            </a:extLst>
          </p:cNvPr>
          <p:cNvSpPr>
            <a:spLocks noGrp="1"/>
          </p:cNvSpPr>
          <p:nvPr>
            <p:ph type="pic" sz="quarter" idx="38"/>
          </p:nvPr>
        </p:nvSpPr>
        <p:spPr>
          <a:xfrm>
            <a:off x="9292982" y="2784311"/>
            <a:ext cx="522000" cy="522000"/>
          </a:xfrm>
        </p:spPr>
        <p:txBody>
          <a:bodyPr/>
          <a:lstStyle>
            <a:lvl1pPr>
              <a:defRPr sz="800"/>
            </a:lvl1pPr>
          </a:lstStyle>
          <a:p>
            <a:r>
              <a:rPr lang="en-US"/>
              <a:t>Click icon to add picture</a:t>
            </a:r>
            <a:endParaRPr lang="en-GB"/>
          </a:p>
        </p:txBody>
      </p:sp>
      <p:sp>
        <p:nvSpPr>
          <p:cNvPr id="15" name="Picture Placeholder 5">
            <a:extLst>
              <a:ext uri="{FF2B5EF4-FFF2-40B4-BE49-F238E27FC236}">
                <a16:creationId xmlns:a16="http://schemas.microsoft.com/office/drawing/2014/main" id="{A71B63EC-1F52-E7D4-574F-AB8608CD4B18}"/>
              </a:ext>
            </a:extLst>
          </p:cNvPr>
          <p:cNvSpPr>
            <a:spLocks noGrp="1"/>
          </p:cNvSpPr>
          <p:nvPr>
            <p:ph type="pic" sz="quarter" idx="39"/>
          </p:nvPr>
        </p:nvSpPr>
        <p:spPr>
          <a:xfrm>
            <a:off x="9292982" y="4624059"/>
            <a:ext cx="522000" cy="522000"/>
          </a:xfrm>
        </p:spPr>
        <p:txBody>
          <a:bodyPr/>
          <a:lstStyle>
            <a:lvl1pPr>
              <a:defRPr sz="800"/>
            </a:lvl1pPr>
          </a:lstStyle>
          <a:p>
            <a:r>
              <a:rPr lang="en-US"/>
              <a:t>Click icon to add picture</a:t>
            </a:r>
            <a:endParaRPr lang="en-GB"/>
          </a:p>
        </p:txBody>
      </p:sp>
      <p:sp>
        <p:nvSpPr>
          <p:cNvPr id="3" name="Footer Placeholder 4">
            <a:extLst>
              <a:ext uri="{FF2B5EF4-FFF2-40B4-BE49-F238E27FC236}">
                <a16:creationId xmlns:a16="http://schemas.microsoft.com/office/drawing/2014/main" id="{2B167164-516A-5A3D-EF0E-B210646CF73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984305414"/>
      </p:ext>
    </p:extLst>
  </p:cSld>
  <p:clrMapOvr>
    <a:masterClrMapping/>
  </p:clrMapOvr>
  <p:extLst>
    <p:ext uri="{DCECCB84-F9BA-43D5-87BE-67443E8EF086}">
      <p15:sldGuideLst xmlns:p15="http://schemas.microsoft.com/office/powerpoint/2012/main">
        <p15:guide id="5" pos="2411" userDrawn="1">
          <p15:clr>
            <a:srgbClr val="FBAE40"/>
          </p15:clr>
        </p15:guide>
        <p15:guide id="6" pos="2797" userDrawn="1">
          <p15:clr>
            <a:srgbClr val="FBAE40"/>
          </p15:clr>
        </p15:guide>
        <p15:guide id="7" pos="4906" userDrawn="1">
          <p15:clr>
            <a:srgbClr val="FBAE40"/>
          </p15:clr>
        </p15:guide>
        <p15:guide id="8" pos="517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 Column with gradient + stats">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864A06F1-A014-EB7F-F310-5C4D2D3C1417}"/>
              </a:ext>
            </a:extLst>
          </p:cNvPr>
          <p:cNvSpPr>
            <a:spLocks noGrp="1"/>
          </p:cNvSpPr>
          <p:nvPr>
            <p:ph type="sldNum" sz="quarter" idx="32"/>
          </p:nvPr>
        </p:nvSpPr>
        <p:spPr/>
        <p:txBody>
          <a:bodyPr/>
          <a:lstStyle/>
          <a:p>
            <a:fld id="{E4C2AD82-1025-4508-97C1-6F7EE5C92734}" type="slidenum">
              <a:rPr lang="en-AU" smtClean="0"/>
              <a:pPr/>
              <a:t>‹#›</a:t>
            </a:fld>
            <a:endParaRPr lang="en-AU"/>
          </a:p>
        </p:txBody>
      </p:sp>
      <p:sp>
        <p:nvSpPr>
          <p:cNvPr id="2" name="Title 1">
            <a:extLst>
              <a:ext uri="{FF2B5EF4-FFF2-40B4-BE49-F238E27FC236}">
                <a16:creationId xmlns:a16="http://schemas.microsoft.com/office/drawing/2014/main" id="{BEA78227-0507-6958-6B32-E761B7579CA7}"/>
              </a:ext>
            </a:extLst>
          </p:cNvPr>
          <p:cNvSpPr>
            <a:spLocks noGrp="1"/>
          </p:cNvSpPr>
          <p:nvPr>
            <p:ph type="title"/>
          </p:nvPr>
        </p:nvSpPr>
        <p:spPr>
          <a:xfrm>
            <a:off x="479425" y="608013"/>
            <a:ext cx="7310337" cy="746695"/>
          </a:xfrm>
        </p:spPr>
        <p:txBody>
          <a:bodyPr/>
          <a:lstStyle/>
          <a:p>
            <a:r>
              <a:rPr lang="en-US"/>
              <a:t>Click to edit Master title style</a:t>
            </a:r>
            <a:endParaRPr lang="en-AU"/>
          </a:p>
        </p:txBody>
      </p:sp>
      <p:sp>
        <p:nvSpPr>
          <p:cNvPr id="21" name="Content Placeholder 20">
            <a:extLst>
              <a:ext uri="{FF2B5EF4-FFF2-40B4-BE49-F238E27FC236}">
                <a16:creationId xmlns:a16="http://schemas.microsoft.com/office/drawing/2014/main" id="{541BB8E3-6D65-F59D-0124-63F5B64B5806}"/>
              </a:ext>
            </a:extLst>
          </p:cNvPr>
          <p:cNvSpPr>
            <a:spLocks noGrp="1"/>
          </p:cNvSpPr>
          <p:nvPr>
            <p:ph sz="quarter" idx="15"/>
          </p:nvPr>
        </p:nvSpPr>
        <p:spPr>
          <a:xfrm>
            <a:off x="4439815" y="1484784"/>
            <a:ext cx="3330000" cy="4408016"/>
          </a:xfrm>
          <a:custGeom>
            <a:avLst/>
            <a:gdLst>
              <a:gd name="connsiteX0" fmla="*/ 0 w 3330000"/>
              <a:gd name="connsiteY0" fmla="*/ 0 h 3795712"/>
              <a:gd name="connsiteX1" fmla="*/ 3330000 w 3330000"/>
              <a:gd name="connsiteY1" fmla="*/ 0 h 3795712"/>
              <a:gd name="connsiteX2" fmla="*/ 3330000 w 3330000"/>
              <a:gd name="connsiteY2" fmla="*/ 3795712 h 3795712"/>
              <a:gd name="connsiteX3" fmla="*/ 0 w 33300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000" h="3795712">
                <a:moveTo>
                  <a:pt x="0" y="0"/>
                </a:moveTo>
                <a:lnTo>
                  <a:pt x="3330000" y="0"/>
                </a:lnTo>
                <a:lnTo>
                  <a:pt x="33300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B693DBAB-2D99-0A01-0DFF-452CDAE07D64}"/>
              </a:ext>
            </a:extLst>
          </p:cNvPr>
          <p:cNvSpPr>
            <a:spLocks noGrp="1"/>
          </p:cNvSpPr>
          <p:nvPr>
            <p:ph sz="quarter" idx="36"/>
          </p:nvPr>
        </p:nvSpPr>
        <p:spPr>
          <a:xfrm>
            <a:off x="479425" y="1484784"/>
            <a:ext cx="3330575" cy="4408016"/>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15" name="Picture 14" descr="Background pattern&#10;&#10;Description automatically generated">
            <a:extLst>
              <a:ext uri="{FF2B5EF4-FFF2-40B4-BE49-F238E27FC236}">
                <a16:creationId xmlns:a16="http://schemas.microsoft.com/office/drawing/2014/main" id="{BEFEDE71-05AD-BE49-B351-60655093738D}"/>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8388626" y="129210"/>
            <a:ext cx="3815374" cy="6735362"/>
          </a:xfrm>
          <a:prstGeom prst="rect">
            <a:avLst/>
          </a:prstGeom>
        </p:spPr>
      </p:pic>
      <p:sp>
        <p:nvSpPr>
          <p:cNvPr id="18" name="Text Placeholder 5">
            <a:extLst>
              <a:ext uri="{FF2B5EF4-FFF2-40B4-BE49-F238E27FC236}">
                <a16:creationId xmlns:a16="http://schemas.microsoft.com/office/drawing/2014/main" id="{1F1BAFC2-2CA7-2B43-9A48-85F50BFE98D7}"/>
              </a:ext>
            </a:extLst>
          </p:cNvPr>
          <p:cNvSpPr>
            <a:spLocks noGrp="1" noChangeAspect="1"/>
          </p:cNvSpPr>
          <p:nvPr>
            <p:ph type="body" sz="quarter" idx="35" hasCustomPrompt="1"/>
          </p:nvPr>
        </p:nvSpPr>
        <p:spPr>
          <a:xfrm>
            <a:off x="10904437" y="6170930"/>
            <a:ext cx="825600" cy="288000"/>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AU"/>
          </a:p>
        </p:txBody>
      </p:sp>
      <p:sp>
        <p:nvSpPr>
          <p:cNvPr id="20" name="Text Placeholder 19">
            <a:extLst>
              <a:ext uri="{FF2B5EF4-FFF2-40B4-BE49-F238E27FC236}">
                <a16:creationId xmlns:a16="http://schemas.microsoft.com/office/drawing/2014/main" id="{5F394694-EB7A-FF42-B206-9CBB2B3BFDF0}"/>
              </a:ext>
            </a:extLst>
          </p:cNvPr>
          <p:cNvSpPr>
            <a:spLocks noGrp="1"/>
          </p:cNvSpPr>
          <p:nvPr>
            <p:ph type="body" sz="quarter" idx="25" hasCustomPrompt="1"/>
          </p:nvPr>
        </p:nvSpPr>
        <p:spPr>
          <a:xfrm>
            <a:off x="9978509" y="944563"/>
            <a:ext cx="1756291" cy="1050925"/>
          </a:xfrm>
        </p:spPr>
        <p:txBody>
          <a:bodyPr/>
          <a:lstStyle>
            <a:lvl1pPr>
              <a:lnSpc>
                <a:spcPct val="90000"/>
              </a:lnSpc>
              <a:spcBef>
                <a:spcPts val="0"/>
              </a:spcBef>
              <a:spcAft>
                <a:spcPts val="0"/>
              </a:spcAft>
              <a:defRPr lang="en-US" sz="4400" b="1" kern="1200" dirty="0" smtClean="0">
                <a:solidFill>
                  <a:schemeClr val="tx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23" name="Text Placeholder 19">
            <a:extLst>
              <a:ext uri="{FF2B5EF4-FFF2-40B4-BE49-F238E27FC236}">
                <a16:creationId xmlns:a16="http://schemas.microsoft.com/office/drawing/2014/main" id="{6846FCA4-BEC3-874A-94EC-3B73BDED0B93}"/>
              </a:ext>
            </a:extLst>
          </p:cNvPr>
          <p:cNvSpPr>
            <a:spLocks noGrp="1"/>
          </p:cNvSpPr>
          <p:nvPr>
            <p:ph type="body" sz="quarter" idx="29" hasCustomPrompt="1"/>
          </p:nvPr>
        </p:nvSpPr>
        <p:spPr>
          <a:xfrm>
            <a:off x="9978509" y="2784311"/>
            <a:ext cx="1756291" cy="1050925"/>
          </a:xfrm>
        </p:spPr>
        <p:txBody>
          <a:bodyPr/>
          <a:lstStyle>
            <a:lvl1pPr>
              <a:lnSpc>
                <a:spcPct val="90000"/>
              </a:lnSpc>
              <a:spcBef>
                <a:spcPts val="0"/>
              </a:spcBef>
              <a:spcAft>
                <a:spcPts val="0"/>
              </a:spcAft>
              <a:defRPr lang="en-US" sz="4400" b="1" kern="1200" dirty="0" smtClean="0">
                <a:solidFill>
                  <a:schemeClr val="tx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25" name="Text Placeholder 19">
            <a:extLst>
              <a:ext uri="{FF2B5EF4-FFF2-40B4-BE49-F238E27FC236}">
                <a16:creationId xmlns:a16="http://schemas.microsoft.com/office/drawing/2014/main" id="{698DA7E3-6A42-D94F-8B15-CEA2522D226F}"/>
              </a:ext>
            </a:extLst>
          </p:cNvPr>
          <p:cNvSpPr>
            <a:spLocks noGrp="1"/>
          </p:cNvSpPr>
          <p:nvPr>
            <p:ph type="body" sz="quarter" idx="31" hasCustomPrompt="1"/>
          </p:nvPr>
        </p:nvSpPr>
        <p:spPr>
          <a:xfrm>
            <a:off x="9978509" y="4624059"/>
            <a:ext cx="1756291" cy="1050925"/>
          </a:xfrm>
        </p:spPr>
        <p:txBody>
          <a:bodyPr/>
          <a:lstStyle>
            <a:lvl1pPr>
              <a:lnSpc>
                <a:spcPct val="90000"/>
              </a:lnSpc>
              <a:spcBef>
                <a:spcPts val="0"/>
              </a:spcBef>
              <a:spcAft>
                <a:spcPts val="0"/>
              </a:spcAft>
              <a:defRPr lang="en-US" sz="4400" b="1" kern="1200" dirty="0" smtClean="0">
                <a:solidFill>
                  <a:schemeClr val="tx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3" name="Picture Placeholder 5">
            <a:extLst>
              <a:ext uri="{FF2B5EF4-FFF2-40B4-BE49-F238E27FC236}">
                <a16:creationId xmlns:a16="http://schemas.microsoft.com/office/drawing/2014/main" id="{D27A6967-AB4A-5765-EBD5-0A2F0B3CB3AF}"/>
              </a:ext>
            </a:extLst>
          </p:cNvPr>
          <p:cNvSpPr>
            <a:spLocks noGrp="1"/>
          </p:cNvSpPr>
          <p:nvPr>
            <p:ph type="pic" sz="quarter" idx="37"/>
          </p:nvPr>
        </p:nvSpPr>
        <p:spPr>
          <a:xfrm>
            <a:off x="9292982" y="944563"/>
            <a:ext cx="522000" cy="522000"/>
          </a:xfrm>
        </p:spPr>
        <p:txBody>
          <a:bodyPr/>
          <a:lstStyle>
            <a:lvl1pPr>
              <a:defRPr sz="800"/>
            </a:lvl1pPr>
          </a:lstStyle>
          <a:p>
            <a:r>
              <a:rPr lang="en-US"/>
              <a:t>Click icon to add picture</a:t>
            </a:r>
            <a:endParaRPr lang="en-GB"/>
          </a:p>
        </p:txBody>
      </p:sp>
      <p:sp>
        <p:nvSpPr>
          <p:cNvPr id="4" name="Picture Placeholder 5">
            <a:extLst>
              <a:ext uri="{FF2B5EF4-FFF2-40B4-BE49-F238E27FC236}">
                <a16:creationId xmlns:a16="http://schemas.microsoft.com/office/drawing/2014/main" id="{E120CD8A-FD75-A9D4-0A5D-06CFA9FA11A9}"/>
              </a:ext>
            </a:extLst>
          </p:cNvPr>
          <p:cNvSpPr>
            <a:spLocks noGrp="1"/>
          </p:cNvSpPr>
          <p:nvPr>
            <p:ph type="pic" sz="quarter" idx="38"/>
          </p:nvPr>
        </p:nvSpPr>
        <p:spPr>
          <a:xfrm>
            <a:off x="9292982" y="2784311"/>
            <a:ext cx="522000" cy="522000"/>
          </a:xfrm>
        </p:spPr>
        <p:txBody>
          <a:bodyPr/>
          <a:lstStyle>
            <a:lvl1pPr>
              <a:defRPr sz="800"/>
            </a:lvl1pPr>
          </a:lstStyle>
          <a:p>
            <a:r>
              <a:rPr lang="en-US"/>
              <a:t>Click icon to add picture</a:t>
            </a:r>
            <a:endParaRPr lang="en-GB"/>
          </a:p>
        </p:txBody>
      </p:sp>
      <p:sp>
        <p:nvSpPr>
          <p:cNvPr id="6" name="Picture Placeholder 5">
            <a:extLst>
              <a:ext uri="{FF2B5EF4-FFF2-40B4-BE49-F238E27FC236}">
                <a16:creationId xmlns:a16="http://schemas.microsoft.com/office/drawing/2014/main" id="{BED66C22-0617-1B94-3131-B502596C00DD}"/>
              </a:ext>
            </a:extLst>
          </p:cNvPr>
          <p:cNvSpPr>
            <a:spLocks noGrp="1"/>
          </p:cNvSpPr>
          <p:nvPr>
            <p:ph type="pic" sz="quarter" idx="39"/>
          </p:nvPr>
        </p:nvSpPr>
        <p:spPr>
          <a:xfrm>
            <a:off x="9292982" y="4624059"/>
            <a:ext cx="522000" cy="522000"/>
          </a:xfrm>
        </p:spPr>
        <p:txBody>
          <a:bodyPr/>
          <a:lstStyle>
            <a:lvl1pPr>
              <a:defRPr sz="800"/>
            </a:lvl1pPr>
          </a:lstStyle>
          <a:p>
            <a:r>
              <a:rPr lang="en-US"/>
              <a:t>Click icon to add picture</a:t>
            </a:r>
            <a:endParaRPr lang="en-GB"/>
          </a:p>
        </p:txBody>
      </p:sp>
      <p:sp>
        <p:nvSpPr>
          <p:cNvPr id="7" name="Footer Placeholder 4">
            <a:extLst>
              <a:ext uri="{FF2B5EF4-FFF2-40B4-BE49-F238E27FC236}">
                <a16:creationId xmlns:a16="http://schemas.microsoft.com/office/drawing/2014/main" id="{60451566-10F8-2538-B49A-F0AF02F36B15}"/>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071161081"/>
      </p:ext>
    </p:extLst>
  </p:cSld>
  <p:clrMapOvr>
    <a:masterClrMapping/>
  </p:clrMapOvr>
  <p:extLst>
    <p:ext uri="{DCECCB84-F9BA-43D5-87BE-67443E8EF086}">
      <p15:sldGuideLst xmlns:p15="http://schemas.microsoft.com/office/powerpoint/2012/main">
        <p15:guide id="5" pos="2411" userDrawn="1">
          <p15:clr>
            <a:srgbClr val="FBAE40"/>
          </p15:clr>
        </p15:guide>
        <p15:guide id="6" pos="2797" userDrawn="1">
          <p15:clr>
            <a:srgbClr val="FBAE40"/>
          </p15:clr>
        </p15:guide>
        <p15:guide id="7" pos="4906" userDrawn="1">
          <p15:clr>
            <a:srgbClr val="FBAE40"/>
          </p15:clr>
        </p15:guide>
        <p15:guide id="8" pos="517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_imag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7308849" cy="297717"/>
          </a:xfrm>
        </p:spPr>
        <p:txBody>
          <a:bodyPr/>
          <a:lstStyle>
            <a:lvl1pPr>
              <a:defRPr sz="1800">
                <a:solidFill>
                  <a:schemeClr val="accent1"/>
                </a:solidFill>
              </a:defRPr>
            </a:lvl1pPr>
          </a:lstStyle>
          <a:p>
            <a:pPr lvl="0"/>
            <a:r>
              <a:rPr lang="en-US"/>
              <a:t>Subheading Goes Here</a:t>
            </a:r>
            <a:endParaRPr lang="en-AU"/>
          </a:p>
        </p:txBody>
      </p:sp>
      <p:sp>
        <p:nvSpPr>
          <p:cNvPr id="3" name="Picture Placeholder 10">
            <a:extLst>
              <a:ext uri="{FF2B5EF4-FFF2-40B4-BE49-F238E27FC236}">
                <a16:creationId xmlns:a16="http://schemas.microsoft.com/office/drawing/2014/main" id="{C7ADBC06-D63E-19EF-F755-3F81BF68C253}"/>
              </a:ext>
            </a:extLst>
          </p:cNvPr>
          <p:cNvSpPr>
            <a:spLocks noGrp="1"/>
          </p:cNvSpPr>
          <p:nvPr>
            <p:ph type="pic" sz="quarter" idx="34" hasCustomPrompt="1"/>
          </p:nvPr>
        </p:nvSpPr>
        <p:spPr>
          <a:xfrm>
            <a:off x="8397875" y="138818"/>
            <a:ext cx="3794125"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9" name="Title 8">
            <a:extLst>
              <a:ext uri="{FF2B5EF4-FFF2-40B4-BE49-F238E27FC236}">
                <a16:creationId xmlns:a16="http://schemas.microsoft.com/office/drawing/2014/main" id="{C98042CB-0E11-2E2A-2DB2-950F75C17725}"/>
              </a:ext>
            </a:extLst>
          </p:cNvPr>
          <p:cNvSpPr>
            <a:spLocks noGrp="1"/>
          </p:cNvSpPr>
          <p:nvPr>
            <p:ph type="title"/>
          </p:nvPr>
        </p:nvSpPr>
        <p:spPr/>
        <p:txBody>
          <a:bodyPr/>
          <a:lstStyle/>
          <a:p>
            <a:r>
              <a:rPr lang="en-US"/>
              <a:t>Click to edit Master title style</a:t>
            </a:r>
            <a:endParaRPr lang="en-AU"/>
          </a:p>
        </p:txBody>
      </p:sp>
      <p:sp>
        <p:nvSpPr>
          <p:cNvPr id="10" name="Text Placeholder 5">
            <a:extLst>
              <a:ext uri="{FF2B5EF4-FFF2-40B4-BE49-F238E27FC236}">
                <a16:creationId xmlns:a16="http://schemas.microsoft.com/office/drawing/2014/main" id="{44321676-882B-FEB7-978A-B1C069B77C71}"/>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Content Placeholder 6">
            <a:extLst>
              <a:ext uri="{FF2B5EF4-FFF2-40B4-BE49-F238E27FC236}">
                <a16:creationId xmlns:a16="http://schemas.microsoft.com/office/drawing/2014/main" id="{74F87A2E-EC52-AF83-BE44-13602B291426}"/>
              </a:ext>
            </a:extLst>
          </p:cNvPr>
          <p:cNvSpPr>
            <a:spLocks noGrp="1"/>
          </p:cNvSpPr>
          <p:nvPr>
            <p:ph sz="quarter" idx="36"/>
          </p:nvPr>
        </p:nvSpPr>
        <p:spPr>
          <a:xfrm>
            <a:off x="479425" y="2097088"/>
            <a:ext cx="3330575" cy="3795712"/>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CA6F9127-6AD6-F223-6FCC-9172EB594757}"/>
              </a:ext>
            </a:extLst>
          </p:cNvPr>
          <p:cNvSpPr>
            <a:spLocks noGrp="1"/>
          </p:cNvSpPr>
          <p:nvPr>
            <p:ph sz="quarter" idx="37"/>
          </p:nvPr>
        </p:nvSpPr>
        <p:spPr>
          <a:xfrm>
            <a:off x="4439815" y="2097088"/>
            <a:ext cx="3330000" cy="3795712"/>
          </a:xfrm>
          <a:custGeom>
            <a:avLst/>
            <a:gdLst>
              <a:gd name="connsiteX0" fmla="*/ 0 w 3330000"/>
              <a:gd name="connsiteY0" fmla="*/ 0 h 3795712"/>
              <a:gd name="connsiteX1" fmla="*/ 3330000 w 3330000"/>
              <a:gd name="connsiteY1" fmla="*/ 0 h 3795712"/>
              <a:gd name="connsiteX2" fmla="*/ 3330000 w 3330000"/>
              <a:gd name="connsiteY2" fmla="*/ 3795712 h 3795712"/>
              <a:gd name="connsiteX3" fmla="*/ 0 w 33300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000" h="3795712">
                <a:moveTo>
                  <a:pt x="0" y="0"/>
                </a:moveTo>
                <a:lnTo>
                  <a:pt x="3330000" y="0"/>
                </a:lnTo>
                <a:lnTo>
                  <a:pt x="33300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4">
            <a:extLst>
              <a:ext uri="{FF2B5EF4-FFF2-40B4-BE49-F238E27FC236}">
                <a16:creationId xmlns:a16="http://schemas.microsoft.com/office/drawing/2014/main" id="{6A3ACDE5-6E25-DD63-D7F2-2B542C73748D}"/>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694486814"/>
      </p:ext>
    </p:extLst>
  </p:cSld>
  <p:clrMapOvr>
    <a:masterClrMapping/>
  </p:clrMapOvr>
  <p:extLst>
    <p:ext uri="{DCECCB84-F9BA-43D5-87BE-67443E8EF086}">
      <p15:sldGuideLst xmlns:p15="http://schemas.microsoft.com/office/powerpoint/2012/main">
        <p15:guide id="5" pos="4906" userDrawn="1">
          <p15:clr>
            <a:srgbClr val="FBAE40"/>
          </p15:clr>
        </p15:guide>
        <p15:guide id="6" pos="5290" userDrawn="1">
          <p15:clr>
            <a:srgbClr val="FBAE40"/>
          </p15:clr>
        </p15:guide>
        <p15:guide id="7" pos="2400" userDrawn="1">
          <p15:clr>
            <a:srgbClr val="FBAE40"/>
          </p15:clr>
        </p15:guide>
        <p15:guide id="8" pos="280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Column_imag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3" name="Picture Placeholder 10">
            <a:extLst>
              <a:ext uri="{FF2B5EF4-FFF2-40B4-BE49-F238E27FC236}">
                <a16:creationId xmlns:a16="http://schemas.microsoft.com/office/drawing/2014/main" id="{C7ADBC06-D63E-19EF-F755-3F81BF68C253}"/>
              </a:ext>
            </a:extLst>
          </p:cNvPr>
          <p:cNvSpPr>
            <a:spLocks noGrp="1"/>
          </p:cNvSpPr>
          <p:nvPr>
            <p:ph type="pic" sz="quarter" idx="34" hasCustomPrompt="1"/>
          </p:nvPr>
        </p:nvSpPr>
        <p:spPr>
          <a:xfrm>
            <a:off x="8397875" y="138818"/>
            <a:ext cx="3794125"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9" name="Title 8">
            <a:extLst>
              <a:ext uri="{FF2B5EF4-FFF2-40B4-BE49-F238E27FC236}">
                <a16:creationId xmlns:a16="http://schemas.microsoft.com/office/drawing/2014/main" id="{C98042CB-0E11-2E2A-2DB2-950F75C17725}"/>
              </a:ext>
            </a:extLst>
          </p:cNvPr>
          <p:cNvSpPr>
            <a:spLocks noGrp="1"/>
          </p:cNvSpPr>
          <p:nvPr>
            <p:ph type="title"/>
          </p:nvPr>
        </p:nvSpPr>
        <p:spPr/>
        <p:txBody>
          <a:bodyPr/>
          <a:lstStyle/>
          <a:p>
            <a:r>
              <a:rPr lang="en-US"/>
              <a:t>Click to edit Master title style</a:t>
            </a:r>
            <a:endParaRPr lang="en-AU"/>
          </a:p>
        </p:txBody>
      </p:sp>
      <p:sp>
        <p:nvSpPr>
          <p:cNvPr id="10" name="Text Placeholder 5">
            <a:extLst>
              <a:ext uri="{FF2B5EF4-FFF2-40B4-BE49-F238E27FC236}">
                <a16:creationId xmlns:a16="http://schemas.microsoft.com/office/drawing/2014/main" id="{44321676-882B-FEB7-978A-B1C069B77C71}"/>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Content Placeholder 6">
            <a:extLst>
              <a:ext uri="{FF2B5EF4-FFF2-40B4-BE49-F238E27FC236}">
                <a16:creationId xmlns:a16="http://schemas.microsoft.com/office/drawing/2014/main" id="{74F87A2E-EC52-AF83-BE44-13602B291426}"/>
              </a:ext>
            </a:extLst>
          </p:cNvPr>
          <p:cNvSpPr>
            <a:spLocks noGrp="1"/>
          </p:cNvSpPr>
          <p:nvPr>
            <p:ph sz="quarter" idx="36"/>
          </p:nvPr>
        </p:nvSpPr>
        <p:spPr>
          <a:xfrm>
            <a:off x="479425" y="1484784"/>
            <a:ext cx="3330575" cy="4408016"/>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Content Placeholder 14">
            <a:extLst>
              <a:ext uri="{FF2B5EF4-FFF2-40B4-BE49-F238E27FC236}">
                <a16:creationId xmlns:a16="http://schemas.microsoft.com/office/drawing/2014/main" id="{CA6F9127-6AD6-F223-6FCC-9172EB594757}"/>
              </a:ext>
            </a:extLst>
          </p:cNvPr>
          <p:cNvSpPr>
            <a:spLocks noGrp="1"/>
          </p:cNvSpPr>
          <p:nvPr>
            <p:ph sz="quarter" idx="37"/>
          </p:nvPr>
        </p:nvSpPr>
        <p:spPr>
          <a:xfrm>
            <a:off x="4439815" y="1484784"/>
            <a:ext cx="3330000" cy="4408016"/>
          </a:xfrm>
          <a:custGeom>
            <a:avLst/>
            <a:gdLst>
              <a:gd name="connsiteX0" fmla="*/ 0 w 3330000"/>
              <a:gd name="connsiteY0" fmla="*/ 0 h 3795712"/>
              <a:gd name="connsiteX1" fmla="*/ 3330000 w 3330000"/>
              <a:gd name="connsiteY1" fmla="*/ 0 h 3795712"/>
              <a:gd name="connsiteX2" fmla="*/ 3330000 w 3330000"/>
              <a:gd name="connsiteY2" fmla="*/ 3795712 h 3795712"/>
              <a:gd name="connsiteX3" fmla="*/ 0 w 3330000"/>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000" h="3795712">
                <a:moveTo>
                  <a:pt x="0" y="0"/>
                </a:moveTo>
                <a:lnTo>
                  <a:pt x="3330000" y="0"/>
                </a:lnTo>
                <a:lnTo>
                  <a:pt x="3330000"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4">
            <a:extLst>
              <a:ext uri="{FF2B5EF4-FFF2-40B4-BE49-F238E27FC236}">
                <a16:creationId xmlns:a16="http://schemas.microsoft.com/office/drawing/2014/main" id="{F8B460B7-03A1-CE7C-817E-B7B16938F2F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674622143"/>
      </p:ext>
    </p:extLst>
  </p:cSld>
  <p:clrMapOvr>
    <a:masterClrMapping/>
  </p:clrMapOvr>
  <p:extLst>
    <p:ext uri="{DCECCB84-F9BA-43D5-87BE-67443E8EF086}">
      <p15:sldGuideLst xmlns:p15="http://schemas.microsoft.com/office/powerpoint/2012/main">
        <p15:guide id="5" pos="4906" userDrawn="1">
          <p15:clr>
            <a:srgbClr val="FBAE40"/>
          </p15:clr>
        </p15:guide>
        <p15:guide id="6" pos="5290" userDrawn="1">
          <p15:clr>
            <a:srgbClr val="FBAE40"/>
          </p15:clr>
        </p15:guide>
        <p15:guide id="7" pos="2400" userDrawn="1">
          <p15:clr>
            <a:srgbClr val="FBAE40"/>
          </p15:clr>
        </p15:guide>
        <p15:guide id="8" pos="280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x2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6" name="Title 5">
            <a:extLst>
              <a:ext uri="{FF2B5EF4-FFF2-40B4-BE49-F238E27FC236}">
                <a16:creationId xmlns:a16="http://schemas.microsoft.com/office/drawing/2014/main" id="{2E2468AB-FA45-150D-FDDE-E7F9D1CB0E0F}"/>
              </a:ext>
            </a:extLst>
          </p:cNvPr>
          <p:cNvSpPr>
            <a:spLocks noGrp="1"/>
          </p:cNvSpPr>
          <p:nvPr>
            <p:ph type="title"/>
          </p:nvPr>
        </p:nvSpPr>
        <p:spPr/>
        <p:txBody>
          <a:bodyPr/>
          <a:lstStyle/>
          <a:p>
            <a:r>
              <a:rPr lang="en-US"/>
              <a:t>Click to edit Master title style</a:t>
            </a:r>
            <a:endParaRPr lang="en-AU"/>
          </a:p>
        </p:txBody>
      </p:sp>
      <p:sp>
        <p:nvSpPr>
          <p:cNvPr id="12" name="Content Placeholder 11">
            <a:extLst>
              <a:ext uri="{FF2B5EF4-FFF2-40B4-BE49-F238E27FC236}">
                <a16:creationId xmlns:a16="http://schemas.microsoft.com/office/drawing/2014/main" id="{F544D994-77F8-798C-5C8E-DFA42B41B52A}"/>
              </a:ext>
            </a:extLst>
          </p:cNvPr>
          <p:cNvSpPr>
            <a:spLocks noGrp="1"/>
          </p:cNvSpPr>
          <p:nvPr>
            <p:ph sz="quarter" idx="20"/>
          </p:nvPr>
        </p:nvSpPr>
        <p:spPr>
          <a:xfrm>
            <a:off x="479425" y="2097088"/>
            <a:ext cx="3330575" cy="1800000"/>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6DEACF6E-EF91-D501-B83C-2EE95F5A117B}"/>
              </a:ext>
            </a:extLst>
          </p:cNvPr>
          <p:cNvSpPr>
            <a:spLocks noGrp="1"/>
          </p:cNvSpPr>
          <p:nvPr>
            <p:ph sz="quarter" idx="21"/>
          </p:nvPr>
        </p:nvSpPr>
        <p:spPr>
          <a:xfrm>
            <a:off x="4439816" y="2097088"/>
            <a:ext cx="3330575" cy="1800000"/>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Content Placeholder 19">
            <a:extLst>
              <a:ext uri="{FF2B5EF4-FFF2-40B4-BE49-F238E27FC236}">
                <a16:creationId xmlns:a16="http://schemas.microsoft.com/office/drawing/2014/main" id="{D067EF9F-2BB7-6827-4A50-F02FFC2E3DEE}"/>
              </a:ext>
            </a:extLst>
          </p:cNvPr>
          <p:cNvSpPr>
            <a:spLocks noGrp="1"/>
          </p:cNvSpPr>
          <p:nvPr>
            <p:ph sz="quarter" idx="22"/>
          </p:nvPr>
        </p:nvSpPr>
        <p:spPr>
          <a:xfrm>
            <a:off x="8400256" y="2097088"/>
            <a:ext cx="3330575" cy="1800000"/>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Content Placeholder 22">
            <a:extLst>
              <a:ext uri="{FF2B5EF4-FFF2-40B4-BE49-F238E27FC236}">
                <a16:creationId xmlns:a16="http://schemas.microsoft.com/office/drawing/2014/main" id="{2BB8D066-3044-D5E3-5373-476CF2E52480}"/>
              </a:ext>
            </a:extLst>
          </p:cNvPr>
          <p:cNvSpPr>
            <a:spLocks noGrp="1"/>
          </p:cNvSpPr>
          <p:nvPr>
            <p:ph sz="quarter" idx="23"/>
          </p:nvPr>
        </p:nvSpPr>
        <p:spPr>
          <a:xfrm>
            <a:off x="479425" y="4092800"/>
            <a:ext cx="3330575" cy="1800000"/>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Content Placeholder 25">
            <a:extLst>
              <a:ext uri="{FF2B5EF4-FFF2-40B4-BE49-F238E27FC236}">
                <a16:creationId xmlns:a16="http://schemas.microsoft.com/office/drawing/2014/main" id="{D6C6B091-0F0A-2523-33C1-B213202C7DD2}"/>
              </a:ext>
            </a:extLst>
          </p:cNvPr>
          <p:cNvSpPr>
            <a:spLocks noGrp="1"/>
          </p:cNvSpPr>
          <p:nvPr>
            <p:ph sz="quarter" idx="24"/>
          </p:nvPr>
        </p:nvSpPr>
        <p:spPr>
          <a:xfrm>
            <a:off x="4457700" y="4092800"/>
            <a:ext cx="3330575" cy="1800000"/>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Content Placeholder 28">
            <a:extLst>
              <a:ext uri="{FF2B5EF4-FFF2-40B4-BE49-F238E27FC236}">
                <a16:creationId xmlns:a16="http://schemas.microsoft.com/office/drawing/2014/main" id="{11859770-4B98-3FF8-EF42-B184E10DCA9C}"/>
              </a:ext>
            </a:extLst>
          </p:cNvPr>
          <p:cNvSpPr>
            <a:spLocks noGrp="1"/>
          </p:cNvSpPr>
          <p:nvPr>
            <p:ph sz="quarter" idx="25"/>
          </p:nvPr>
        </p:nvSpPr>
        <p:spPr>
          <a:xfrm>
            <a:off x="8400256" y="4092800"/>
            <a:ext cx="3330575" cy="1800000"/>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13278359-473D-5777-60A6-7152089695EB}"/>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4373461"/>
      </p:ext>
    </p:extLst>
  </p:cSld>
  <p:clrMapOvr>
    <a:masterClrMapping/>
  </p:clrMapOvr>
  <p:extLst>
    <p:ext uri="{DCECCB84-F9BA-43D5-87BE-67443E8EF086}">
      <p15:sldGuideLst xmlns:p15="http://schemas.microsoft.com/office/powerpoint/2012/main">
        <p15:guide id="2" pos="5290">
          <p15:clr>
            <a:srgbClr val="FBAE40"/>
          </p15:clr>
        </p15:guide>
        <p15:guide id="3" pos="2400">
          <p15:clr>
            <a:srgbClr val="FBAE40"/>
          </p15:clr>
        </p15:guide>
        <p15:guide id="4" pos="2800">
          <p15:clr>
            <a:srgbClr val="FBAE40"/>
          </p15:clr>
        </p15:guide>
        <p15:guide id="7" pos="4906" userDrawn="1">
          <p15:clr>
            <a:srgbClr val="FBAE40"/>
          </p15:clr>
        </p15:guide>
        <p15:guide id="8" orient="horz" pos="2455" userDrawn="1">
          <p15:clr>
            <a:srgbClr val="FBAE40"/>
          </p15:clr>
        </p15:guide>
        <p15:guide id="9" orient="horz" pos="257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x2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6" name="Title 5">
            <a:extLst>
              <a:ext uri="{FF2B5EF4-FFF2-40B4-BE49-F238E27FC236}">
                <a16:creationId xmlns:a16="http://schemas.microsoft.com/office/drawing/2014/main" id="{2E2468AB-FA45-150D-FDDE-E7F9D1CB0E0F}"/>
              </a:ext>
            </a:extLst>
          </p:cNvPr>
          <p:cNvSpPr>
            <a:spLocks noGrp="1"/>
          </p:cNvSpPr>
          <p:nvPr>
            <p:ph type="title"/>
          </p:nvPr>
        </p:nvSpPr>
        <p:spPr/>
        <p:txBody>
          <a:bodyPr/>
          <a:lstStyle/>
          <a:p>
            <a:r>
              <a:rPr lang="en-US"/>
              <a:t>Click to edit Master title style</a:t>
            </a:r>
            <a:endParaRPr lang="en-AU"/>
          </a:p>
        </p:txBody>
      </p:sp>
      <p:sp>
        <p:nvSpPr>
          <p:cNvPr id="12" name="Content Placeholder 11">
            <a:extLst>
              <a:ext uri="{FF2B5EF4-FFF2-40B4-BE49-F238E27FC236}">
                <a16:creationId xmlns:a16="http://schemas.microsoft.com/office/drawing/2014/main" id="{F544D994-77F8-798C-5C8E-DFA42B41B52A}"/>
              </a:ext>
            </a:extLst>
          </p:cNvPr>
          <p:cNvSpPr>
            <a:spLocks noGrp="1"/>
          </p:cNvSpPr>
          <p:nvPr>
            <p:ph sz="quarter" idx="20"/>
          </p:nvPr>
        </p:nvSpPr>
        <p:spPr>
          <a:xfrm>
            <a:off x="479425" y="1782501"/>
            <a:ext cx="3330575" cy="179962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6DEACF6E-EF91-D501-B83C-2EE95F5A117B}"/>
              </a:ext>
            </a:extLst>
          </p:cNvPr>
          <p:cNvSpPr>
            <a:spLocks noGrp="1"/>
          </p:cNvSpPr>
          <p:nvPr>
            <p:ph sz="quarter" idx="21"/>
          </p:nvPr>
        </p:nvSpPr>
        <p:spPr>
          <a:xfrm>
            <a:off x="4439816" y="1782501"/>
            <a:ext cx="3330575" cy="179962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Content Placeholder 19">
            <a:extLst>
              <a:ext uri="{FF2B5EF4-FFF2-40B4-BE49-F238E27FC236}">
                <a16:creationId xmlns:a16="http://schemas.microsoft.com/office/drawing/2014/main" id="{D067EF9F-2BB7-6827-4A50-F02FFC2E3DEE}"/>
              </a:ext>
            </a:extLst>
          </p:cNvPr>
          <p:cNvSpPr>
            <a:spLocks noGrp="1"/>
          </p:cNvSpPr>
          <p:nvPr>
            <p:ph sz="quarter" idx="22"/>
          </p:nvPr>
        </p:nvSpPr>
        <p:spPr>
          <a:xfrm>
            <a:off x="8400256" y="1782501"/>
            <a:ext cx="3330575" cy="179962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Content Placeholder 22">
            <a:extLst>
              <a:ext uri="{FF2B5EF4-FFF2-40B4-BE49-F238E27FC236}">
                <a16:creationId xmlns:a16="http://schemas.microsoft.com/office/drawing/2014/main" id="{2BB8D066-3044-D5E3-5373-476CF2E52480}"/>
              </a:ext>
            </a:extLst>
          </p:cNvPr>
          <p:cNvSpPr>
            <a:spLocks noGrp="1"/>
          </p:cNvSpPr>
          <p:nvPr>
            <p:ph sz="quarter" idx="23"/>
          </p:nvPr>
        </p:nvSpPr>
        <p:spPr>
          <a:xfrm>
            <a:off x="479425" y="3996874"/>
            <a:ext cx="3330575" cy="179962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Content Placeholder 25">
            <a:extLst>
              <a:ext uri="{FF2B5EF4-FFF2-40B4-BE49-F238E27FC236}">
                <a16:creationId xmlns:a16="http://schemas.microsoft.com/office/drawing/2014/main" id="{D6C6B091-0F0A-2523-33C1-B213202C7DD2}"/>
              </a:ext>
            </a:extLst>
          </p:cNvPr>
          <p:cNvSpPr>
            <a:spLocks noGrp="1"/>
          </p:cNvSpPr>
          <p:nvPr>
            <p:ph sz="quarter" idx="24"/>
          </p:nvPr>
        </p:nvSpPr>
        <p:spPr>
          <a:xfrm>
            <a:off x="4457700" y="3996874"/>
            <a:ext cx="3330575" cy="179962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Content Placeholder 28">
            <a:extLst>
              <a:ext uri="{FF2B5EF4-FFF2-40B4-BE49-F238E27FC236}">
                <a16:creationId xmlns:a16="http://schemas.microsoft.com/office/drawing/2014/main" id="{11859770-4B98-3FF8-EF42-B184E10DCA9C}"/>
              </a:ext>
            </a:extLst>
          </p:cNvPr>
          <p:cNvSpPr>
            <a:spLocks noGrp="1"/>
          </p:cNvSpPr>
          <p:nvPr>
            <p:ph sz="quarter" idx="25"/>
          </p:nvPr>
        </p:nvSpPr>
        <p:spPr>
          <a:xfrm>
            <a:off x="8400256" y="3996874"/>
            <a:ext cx="3330575" cy="179962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Rectangle 2">
            <a:extLst>
              <a:ext uri="{FF2B5EF4-FFF2-40B4-BE49-F238E27FC236}">
                <a16:creationId xmlns:a16="http://schemas.microsoft.com/office/drawing/2014/main" id="{8C3428A0-7B53-9B48-8FCC-3F7309D84A84}"/>
              </a:ext>
            </a:extLst>
          </p:cNvPr>
          <p:cNvSpPr/>
          <p:nvPr userDrawn="1"/>
        </p:nvSpPr>
        <p:spPr>
          <a:xfrm>
            <a:off x="487017" y="1600200"/>
            <a:ext cx="3349487"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D14A58A-DB6E-2F44-8392-D12BA1EA53DD}"/>
              </a:ext>
            </a:extLst>
          </p:cNvPr>
          <p:cNvSpPr/>
          <p:nvPr userDrawn="1"/>
        </p:nvSpPr>
        <p:spPr>
          <a:xfrm>
            <a:off x="4409999" y="1600200"/>
            <a:ext cx="3349487"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D0ED5E9-18DA-D54B-A9CF-9F2E09F64003}"/>
              </a:ext>
            </a:extLst>
          </p:cNvPr>
          <p:cNvSpPr/>
          <p:nvPr userDrawn="1"/>
        </p:nvSpPr>
        <p:spPr>
          <a:xfrm>
            <a:off x="8400256" y="1600200"/>
            <a:ext cx="3349487"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56961E3-1B0A-5047-A5C7-DEED99F6309F}"/>
              </a:ext>
            </a:extLst>
          </p:cNvPr>
          <p:cNvSpPr/>
          <p:nvPr userDrawn="1"/>
        </p:nvSpPr>
        <p:spPr>
          <a:xfrm>
            <a:off x="487017" y="3818857"/>
            <a:ext cx="3349487"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9DB2F47-4F07-2A4E-AA61-444C19DE8C90}"/>
              </a:ext>
            </a:extLst>
          </p:cNvPr>
          <p:cNvSpPr/>
          <p:nvPr userDrawn="1"/>
        </p:nvSpPr>
        <p:spPr>
          <a:xfrm>
            <a:off x="4409999" y="3818857"/>
            <a:ext cx="3349487"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3718966-7321-DE4B-A5D5-9C6CFE8717C1}"/>
              </a:ext>
            </a:extLst>
          </p:cNvPr>
          <p:cNvSpPr/>
          <p:nvPr userDrawn="1"/>
        </p:nvSpPr>
        <p:spPr>
          <a:xfrm>
            <a:off x="8400256" y="3818857"/>
            <a:ext cx="3349487"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1B007F8C-4DBC-8812-696E-29E5C203030F}"/>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89490823"/>
      </p:ext>
    </p:extLst>
  </p:cSld>
  <p:clrMapOvr>
    <a:masterClrMapping/>
  </p:clrMapOvr>
  <p:extLst>
    <p:ext uri="{DCECCB84-F9BA-43D5-87BE-67443E8EF086}">
      <p15:sldGuideLst xmlns:p15="http://schemas.microsoft.com/office/powerpoint/2012/main">
        <p15:guide id="2" pos="5290">
          <p15:clr>
            <a:srgbClr val="FBAE40"/>
          </p15:clr>
        </p15:guide>
        <p15:guide id="3" pos="2400">
          <p15:clr>
            <a:srgbClr val="FBAE40"/>
          </p15:clr>
        </p15:guide>
        <p15:guide id="4" pos="2800">
          <p15:clr>
            <a:srgbClr val="FBAE40"/>
          </p15:clr>
        </p15:guide>
        <p15:guide id="7" pos="4906" userDrawn="1">
          <p15:clr>
            <a:srgbClr val="FBAE40"/>
          </p15:clr>
        </p15:guide>
        <p15:guide id="8" orient="horz" pos="2455" userDrawn="1">
          <p15:clr>
            <a:srgbClr val="FBAE40"/>
          </p15:clr>
        </p15:guide>
        <p15:guide id="9" orient="horz" pos="257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28" name="Content Placeholder 2">
            <a:extLst>
              <a:ext uri="{FF2B5EF4-FFF2-40B4-BE49-F238E27FC236}">
                <a16:creationId xmlns:a16="http://schemas.microsoft.com/office/drawing/2014/main" id="{54B8A52F-33C0-D73F-9A6B-8C0AC6B06508}"/>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6" name="Title 5">
            <a:extLst>
              <a:ext uri="{FF2B5EF4-FFF2-40B4-BE49-F238E27FC236}">
                <a16:creationId xmlns:a16="http://schemas.microsoft.com/office/drawing/2014/main" id="{7B6E73CB-9D3F-B9A5-7AB1-AF53294A82F0}"/>
              </a:ext>
            </a:extLst>
          </p:cNvPr>
          <p:cNvSpPr>
            <a:spLocks noGrp="1"/>
          </p:cNvSpPr>
          <p:nvPr>
            <p:ph type="title"/>
          </p:nvPr>
        </p:nvSpPr>
        <p:spPr/>
        <p:txBody>
          <a:bodyPr/>
          <a:lstStyle/>
          <a:p>
            <a:r>
              <a:rPr lang="en-US"/>
              <a:t>Click to edit Master title style</a:t>
            </a:r>
            <a:endParaRPr lang="en-AU"/>
          </a:p>
        </p:txBody>
      </p:sp>
      <p:sp>
        <p:nvSpPr>
          <p:cNvPr id="8" name="Content Placeholder 7">
            <a:extLst>
              <a:ext uri="{FF2B5EF4-FFF2-40B4-BE49-F238E27FC236}">
                <a16:creationId xmlns:a16="http://schemas.microsoft.com/office/drawing/2014/main" id="{8227AC53-AFC1-5391-D1DE-623BDE67F819}"/>
              </a:ext>
            </a:extLst>
          </p:cNvPr>
          <p:cNvSpPr>
            <a:spLocks noGrp="1"/>
          </p:cNvSpPr>
          <p:nvPr>
            <p:ph sz="quarter" idx="18"/>
          </p:nvPr>
        </p:nvSpPr>
        <p:spPr>
          <a:xfrm>
            <a:off x="479424" y="2097088"/>
            <a:ext cx="2593975" cy="3795712"/>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Content Placeholder 10">
            <a:extLst>
              <a:ext uri="{FF2B5EF4-FFF2-40B4-BE49-F238E27FC236}">
                <a16:creationId xmlns:a16="http://schemas.microsoft.com/office/drawing/2014/main" id="{E08E260D-099B-C9A0-F45A-C1E1BBDD7164}"/>
              </a:ext>
            </a:extLst>
          </p:cNvPr>
          <p:cNvSpPr>
            <a:spLocks noGrp="1"/>
          </p:cNvSpPr>
          <p:nvPr>
            <p:ph sz="quarter" idx="19"/>
          </p:nvPr>
        </p:nvSpPr>
        <p:spPr>
          <a:xfrm>
            <a:off x="3354388" y="2097088"/>
            <a:ext cx="2593975" cy="3795712"/>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Content Placeholder 13">
            <a:extLst>
              <a:ext uri="{FF2B5EF4-FFF2-40B4-BE49-F238E27FC236}">
                <a16:creationId xmlns:a16="http://schemas.microsoft.com/office/drawing/2014/main" id="{3686BF93-2DC0-F56D-0CFC-FD0BBFC2EAC6}"/>
              </a:ext>
            </a:extLst>
          </p:cNvPr>
          <p:cNvSpPr>
            <a:spLocks noGrp="1"/>
          </p:cNvSpPr>
          <p:nvPr>
            <p:ph sz="quarter" idx="20"/>
          </p:nvPr>
        </p:nvSpPr>
        <p:spPr>
          <a:xfrm>
            <a:off x="6240016" y="2097088"/>
            <a:ext cx="2593975" cy="3795712"/>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EFFD4A09-BF76-1E71-C430-6B0D410B90E7}"/>
              </a:ext>
            </a:extLst>
          </p:cNvPr>
          <p:cNvSpPr>
            <a:spLocks noGrp="1"/>
          </p:cNvSpPr>
          <p:nvPr>
            <p:ph sz="quarter" idx="21"/>
          </p:nvPr>
        </p:nvSpPr>
        <p:spPr>
          <a:xfrm>
            <a:off x="9120336" y="2097088"/>
            <a:ext cx="2593975" cy="3795712"/>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B03DF1AF-EFF6-B654-9933-DA9637D358C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777239653"/>
      </p:ext>
    </p:extLst>
  </p:cSld>
  <p:clrMapOvr>
    <a:masterClrMapping/>
  </p:clrMapOvr>
  <p:extLst>
    <p:ext uri="{DCECCB84-F9BA-43D5-87BE-67443E8EF086}">
      <p15:sldGuideLst xmlns:p15="http://schemas.microsoft.com/office/powerpoint/2012/main">
        <p15:guide id="7" pos="3747" userDrawn="1">
          <p15:clr>
            <a:srgbClr val="FBAE40"/>
          </p15:clr>
        </p15:guide>
        <p15:guide id="8" pos="3930" userDrawn="1">
          <p15:clr>
            <a:srgbClr val="FBAE40"/>
          </p15:clr>
        </p15:guide>
        <p15:guide id="9" pos="1936" userDrawn="1">
          <p15:clr>
            <a:srgbClr val="FBAE40"/>
          </p15:clr>
        </p15:guide>
        <p15:guide id="10" pos="2112" userDrawn="1">
          <p15:clr>
            <a:srgbClr val="FBAE40"/>
          </p15:clr>
        </p15:guide>
        <p15:guide id="11" pos="5564" userDrawn="1">
          <p15:clr>
            <a:srgbClr val="FBAE40"/>
          </p15:clr>
        </p15:guide>
        <p15:guide id="12" pos="573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1_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79425" y="3643376"/>
            <a:ext cx="10842844" cy="645610"/>
          </a:xfrm>
        </p:spPr>
        <p:txBody>
          <a:bodyPr anchor="t" anchorCtr="0"/>
          <a:lstStyle>
            <a:lvl1pPr algn="l">
              <a:defRPr sz="3400">
                <a:solidFill>
                  <a:schemeClr val="tx1"/>
                </a:solidFill>
              </a:defRPr>
            </a:lvl1pPr>
          </a:lstStyle>
          <a:p>
            <a:r>
              <a:rPr lang="en-US"/>
              <a:t>Your text here</a:t>
            </a:r>
            <a:endParaRPr lang="en-AU"/>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79425" y="5971667"/>
            <a:ext cx="3600000" cy="252000"/>
          </a:xfrm>
        </p:spPr>
        <p:txBody>
          <a:bodyPr/>
          <a:lstStyle>
            <a:lvl1pPr marL="0" indent="0" algn="l">
              <a:buNone/>
              <a:defRPr sz="15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9" name="Text Placeholder 8">
            <a:extLst>
              <a:ext uri="{FF2B5EF4-FFF2-40B4-BE49-F238E27FC236}">
                <a16:creationId xmlns:a16="http://schemas.microsoft.com/office/drawing/2014/main" id="{B0697358-839B-D5D6-EB0F-627FBD488A49}"/>
              </a:ext>
            </a:extLst>
          </p:cNvPr>
          <p:cNvSpPr>
            <a:spLocks noGrp="1"/>
          </p:cNvSpPr>
          <p:nvPr>
            <p:ph type="body" sz="quarter" idx="10" hasCustomPrompt="1"/>
          </p:nvPr>
        </p:nvSpPr>
        <p:spPr>
          <a:xfrm>
            <a:off x="479425" y="3438016"/>
            <a:ext cx="11268000" cy="10800"/>
          </a:xfrm>
          <a:solidFill>
            <a:schemeClr val="tx1"/>
          </a:solidFill>
        </p:spPr>
        <p:txBody>
          <a:bodyPr/>
          <a:lstStyle>
            <a:lvl1pPr>
              <a:defRPr/>
            </a:lvl1pPr>
          </a:lstStyle>
          <a:p>
            <a:pPr lvl="0"/>
            <a:r>
              <a:rPr lang="en-US"/>
              <a:t> </a:t>
            </a:r>
            <a:endParaRPr lang="en-AU"/>
          </a:p>
        </p:txBody>
      </p:sp>
      <p:sp>
        <p:nvSpPr>
          <p:cNvPr id="10" name="Text Placeholder 8">
            <a:extLst>
              <a:ext uri="{FF2B5EF4-FFF2-40B4-BE49-F238E27FC236}">
                <a16:creationId xmlns:a16="http://schemas.microsoft.com/office/drawing/2014/main" id="{C1A15EDA-4756-C16A-4B18-DED8C97F5836}"/>
              </a:ext>
            </a:extLst>
          </p:cNvPr>
          <p:cNvSpPr>
            <a:spLocks noGrp="1"/>
          </p:cNvSpPr>
          <p:nvPr>
            <p:ph type="body" sz="quarter" idx="11" hasCustomPrompt="1"/>
          </p:nvPr>
        </p:nvSpPr>
        <p:spPr>
          <a:xfrm>
            <a:off x="479425" y="5522848"/>
            <a:ext cx="11268000" cy="10800"/>
          </a:xfrm>
          <a:solidFill>
            <a:schemeClr val="tx1"/>
          </a:solidFill>
        </p:spPr>
        <p:txBody>
          <a:bodyPr/>
          <a:lstStyle>
            <a:lvl1pPr>
              <a:defRPr/>
            </a:lvl1pPr>
          </a:lstStyle>
          <a:p>
            <a:pPr lvl="0"/>
            <a:r>
              <a:rPr lang="en-US"/>
              <a:t> </a:t>
            </a:r>
            <a:endParaRPr lang="en-AU"/>
          </a:p>
        </p:txBody>
      </p:sp>
      <p:sp>
        <p:nvSpPr>
          <p:cNvPr id="21" name="Text Placeholder 20">
            <a:extLst>
              <a:ext uri="{FF2B5EF4-FFF2-40B4-BE49-F238E27FC236}">
                <a16:creationId xmlns:a16="http://schemas.microsoft.com/office/drawing/2014/main" id="{448993CC-D7E4-12D5-5827-680DDF8329FD}"/>
              </a:ext>
            </a:extLst>
          </p:cNvPr>
          <p:cNvSpPr>
            <a:spLocks noGrp="1"/>
          </p:cNvSpPr>
          <p:nvPr>
            <p:ph type="body" sz="quarter" idx="12" hasCustomPrompt="1"/>
          </p:nvPr>
        </p:nvSpPr>
        <p:spPr>
          <a:xfrm>
            <a:off x="479424" y="5748020"/>
            <a:ext cx="3600000" cy="252000"/>
          </a:xfrm>
        </p:spPr>
        <p:txBody>
          <a:bodyPr/>
          <a:lstStyle>
            <a:lvl1pPr>
              <a:defRPr sz="1500" b="1">
                <a:solidFill>
                  <a:schemeClr val="tx1"/>
                </a:solidFill>
              </a:defRPr>
            </a:lvl1pPr>
          </a:lstStyle>
          <a:p>
            <a:pPr lvl="0"/>
            <a:r>
              <a:rPr lang="en-US"/>
              <a:t>Partners presentation</a:t>
            </a:r>
          </a:p>
        </p:txBody>
      </p:sp>
      <p:sp>
        <p:nvSpPr>
          <p:cNvPr id="24" name="Rectangle 23">
            <a:extLst>
              <a:ext uri="{FF2B5EF4-FFF2-40B4-BE49-F238E27FC236}">
                <a16:creationId xmlns:a16="http://schemas.microsoft.com/office/drawing/2014/main" id="{C1D2AFF4-02AD-163F-8B3E-DC7ACE2DD6E4}"/>
              </a:ext>
            </a:extLst>
          </p:cNvPr>
          <p:cNvSpPr/>
          <p:nvPr userDrawn="1"/>
        </p:nvSpPr>
        <p:spPr>
          <a:xfrm>
            <a:off x="0" y="0"/>
            <a:ext cx="12192000" cy="136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Freeform: Shape 3">
            <a:extLst>
              <a:ext uri="{FF2B5EF4-FFF2-40B4-BE49-F238E27FC236}">
                <a16:creationId xmlns:a16="http://schemas.microsoft.com/office/drawing/2014/main" id="{2FBA5078-BDC1-D304-2CFE-D667FFB25378}"/>
              </a:ext>
            </a:extLst>
          </p:cNvPr>
          <p:cNvSpPr/>
          <p:nvPr userDrawn="1"/>
        </p:nvSpPr>
        <p:spPr>
          <a:xfrm>
            <a:off x="464621" y="1748678"/>
            <a:ext cx="232692" cy="265159"/>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rgbClr val="FFFFFF"/>
          </a:solidFill>
          <a:ln w="12748"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A9589731-4618-9330-A4FD-9B58092E929D}"/>
              </a:ext>
            </a:extLst>
          </p:cNvPr>
          <p:cNvSpPr/>
          <p:nvPr userDrawn="1"/>
        </p:nvSpPr>
        <p:spPr>
          <a:xfrm>
            <a:off x="703529" y="1748612"/>
            <a:ext cx="264233" cy="265159"/>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rgbClr val="FFFFFF"/>
          </a:solidFill>
          <a:ln w="12748"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B461DF83-6EDC-4F47-E446-D012840FCCA8}"/>
              </a:ext>
            </a:extLst>
          </p:cNvPr>
          <p:cNvSpPr/>
          <p:nvPr userDrawn="1"/>
        </p:nvSpPr>
        <p:spPr>
          <a:xfrm>
            <a:off x="958769" y="1655945"/>
            <a:ext cx="684520" cy="35266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rgbClr val="FFFFFF"/>
          </a:solidFill>
          <a:ln w="12748"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207A5704-FDFE-E8B3-D4AE-B5A14735E49D}"/>
              </a:ext>
            </a:extLst>
          </p:cNvPr>
          <p:cNvSpPr/>
          <p:nvPr userDrawn="1"/>
        </p:nvSpPr>
        <p:spPr>
          <a:xfrm>
            <a:off x="1626824" y="1748546"/>
            <a:ext cx="245321" cy="263770"/>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rgbClr val="FFFFFF"/>
          </a:solidFill>
          <a:ln w="12748"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F8423C64-F4C0-C0EA-0DA6-0DFAEB293AF8}"/>
              </a:ext>
            </a:extLst>
          </p:cNvPr>
          <p:cNvSpPr/>
          <p:nvPr userDrawn="1"/>
        </p:nvSpPr>
        <p:spPr>
          <a:xfrm>
            <a:off x="1890660" y="1751456"/>
            <a:ext cx="157508" cy="254380"/>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rgbClr val="FFFFFF"/>
          </a:solidFill>
          <a:ln w="12748"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5BF70A37-2BC7-A076-1A15-A948A5B7D145}"/>
              </a:ext>
            </a:extLst>
          </p:cNvPr>
          <p:cNvSpPr/>
          <p:nvPr userDrawn="1"/>
        </p:nvSpPr>
        <p:spPr>
          <a:xfrm>
            <a:off x="2045987" y="1748612"/>
            <a:ext cx="254855" cy="264696"/>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rgbClr val="FFFFFF"/>
          </a:solidFill>
          <a:ln w="12748" cap="flat">
            <a:noFill/>
            <a:prstDash val="solid"/>
            <a:miter/>
          </a:ln>
        </p:spPr>
        <p:txBody>
          <a:bodyPr rtlCol="0" anchor="ctr"/>
          <a:lstStyle/>
          <a:p>
            <a:endParaRPr lang="en-AU"/>
          </a:p>
        </p:txBody>
      </p:sp>
      <p:sp>
        <p:nvSpPr>
          <p:cNvPr id="30" name="Text Placeholder 5">
            <a:extLst>
              <a:ext uri="{FF2B5EF4-FFF2-40B4-BE49-F238E27FC236}">
                <a16:creationId xmlns:a16="http://schemas.microsoft.com/office/drawing/2014/main" id="{5B2C2534-5783-F955-83F5-48BEAD2B9456}"/>
              </a:ext>
            </a:extLst>
          </p:cNvPr>
          <p:cNvSpPr>
            <a:spLocks noGrp="1"/>
          </p:cNvSpPr>
          <p:nvPr>
            <p:ph type="body" sz="quarter" idx="35" hasCustomPrompt="1"/>
          </p:nvPr>
        </p:nvSpPr>
        <p:spPr>
          <a:xfrm>
            <a:off x="381635" y="885953"/>
            <a:ext cx="5727600" cy="199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Tree>
    <p:extLst>
      <p:ext uri="{BB962C8B-B14F-4D97-AF65-F5344CB8AC3E}">
        <p14:creationId xmlns:p14="http://schemas.microsoft.com/office/powerpoint/2010/main" val="13073207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6" name="Title 5">
            <a:extLst>
              <a:ext uri="{FF2B5EF4-FFF2-40B4-BE49-F238E27FC236}">
                <a16:creationId xmlns:a16="http://schemas.microsoft.com/office/drawing/2014/main" id="{7B6E73CB-9D3F-B9A5-7AB1-AF53294A82F0}"/>
              </a:ext>
            </a:extLst>
          </p:cNvPr>
          <p:cNvSpPr>
            <a:spLocks noGrp="1"/>
          </p:cNvSpPr>
          <p:nvPr>
            <p:ph type="title"/>
          </p:nvPr>
        </p:nvSpPr>
        <p:spPr/>
        <p:txBody>
          <a:bodyPr/>
          <a:lstStyle/>
          <a:p>
            <a:r>
              <a:rPr lang="en-US"/>
              <a:t>Click to edit Master title style</a:t>
            </a:r>
            <a:endParaRPr lang="en-AU"/>
          </a:p>
        </p:txBody>
      </p:sp>
      <p:sp>
        <p:nvSpPr>
          <p:cNvPr id="8" name="Content Placeholder 7">
            <a:extLst>
              <a:ext uri="{FF2B5EF4-FFF2-40B4-BE49-F238E27FC236}">
                <a16:creationId xmlns:a16="http://schemas.microsoft.com/office/drawing/2014/main" id="{8227AC53-AFC1-5391-D1DE-623BDE67F819}"/>
              </a:ext>
            </a:extLst>
          </p:cNvPr>
          <p:cNvSpPr>
            <a:spLocks noGrp="1"/>
          </p:cNvSpPr>
          <p:nvPr>
            <p:ph sz="quarter" idx="18"/>
          </p:nvPr>
        </p:nvSpPr>
        <p:spPr>
          <a:xfrm>
            <a:off x="479424" y="1782501"/>
            <a:ext cx="2593975" cy="4110299"/>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Content Placeholder 10">
            <a:extLst>
              <a:ext uri="{FF2B5EF4-FFF2-40B4-BE49-F238E27FC236}">
                <a16:creationId xmlns:a16="http://schemas.microsoft.com/office/drawing/2014/main" id="{E08E260D-099B-C9A0-F45A-C1E1BBDD7164}"/>
              </a:ext>
            </a:extLst>
          </p:cNvPr>
          <p:cNvSpPr>
            <a:spLocks noGrp="1"/>
          </p:cNvSpPr>
          <p:nvPr>
            <p:ph sz="quarter" idx="19"/>
          </p:nvPr>
        </p:nvSpPr>
        <p:spPr>
          <a:xfrm>
            <a:off x="3354388" y="1782501"/>
            <a:ext cx="2593975" cy="4110299"/>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Content Placeholder 13">
            <a:extLst>
              <a:ext uri="{FF2B5EF4-FFF2-40B4-BE49-F238E27FC236}">
                <a16:creationId xmlns:a16="http://schemas.microsoft.com/office/drawing/2014/main" id="{3686BF93-2DC0-F56D-0CFC-FD0BBFC2EAC6}"/>
              </a:ext>
            </a:extLst>
          </p:cNvPr>
          <p:cNvSpPr>
            <a:spLocks noGrp="1"/>
          </p:cNvSpPr>
          <p:nvPr>
            <p:ph sz="quarter" idx="20"/>
          </p:nvPr>
        </p:nvSpPr>
        <p:spPr>
          <a:xfrm>
            <a:off x="6240016" y="1782501"/>
            <a:ext cx="2593975" cy="4110299"/>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EFFD4A09-BF76-1E71-C430-6B0D410B90E7}"/>
              </a:ext>
            </a:extLst>
          </p:cNvPr>
          <p:cNvSpPr>
            <a:spLocks noGrp="1"/>
          </p:cNvSpPr>
          <p:nvPr>
            <p:ph sz="quarter" idx="21"/>
          </p:nvPr>
        </p:nvSpPr>
        <p:spPr>
          <a:xfrm>
            <a:off x="9120336" y="1782501"/>
            <a:ext cx="2593975" cy="4110299"/>
          </a:xfrm>
          <a:custGeom>
            <a:avLst/>
            <a:gdLst>
              <a:gd name="connsiteX0" fmla="*/ 0 w 2593975"/>
              <a:gd name="connsiteY0" fmla="*/ 0 h 3795712"/>
              <a:gd name="connsiteX1" fmla="*/ 2593975 w 2593975"/>
              <a:gd name="connsiteY1" fmla="*/ 0 h 3795712"/>
              <a:gd name="connsiteX2" fmla="*/ 2593975 w 2593975"/>
              <a:gd name="connsiteY2" fmla="*/ 3795712 h 3795712"/>
              <a:gd name="connsiteX3" fmla="*/ 0 w 25939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2593975" h="3795712">
                <a:moveTo>
                  <a:pt x="0" y="0"/>
                </a:moveTo>
                <a:lnTo>
                  <a:pt x="2593975" y="0"/>
                </a:lnTo>
                <a:lnTo>
                  <a:pt x="2593975" y="3795712"/>
                </a:lnTo>
                <a:lnTo>
                  <a:pt x="0" y="3795712"/>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Rectangle 8">
            <a:extLst>
              <a:ext uri="{FF2B5EF4-FFF2-40B4-BE49-F238E27FC236}">
                <a16:creationId xmlns:a16="http://schemas.microsoft.com/office/drawing/2014/main" id="{8FD13912-4154-1346-8E07-68581BD47B91}"/>
              </a:ext>
            </a:extLst>
          </p:cNvPr>
          <p:cNvSpPr/>
          <p:nvPr userDrawn="1"/>
        </p:nvSpPr>
        <p:spPr>
          <a:xfrm>
            <a:off x="487017" y="1600200"/>
            <a:ext cx="2604053"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997011A-C5A5-6B4E-9396-940C03A35559}"/>
              </a:ext>
            </a:extLst>
          </p:cNvPr>
          <p:cNvSpPr/>
          <p:nvPr userDrawn="1"/>
        </p:nvSpPr>
        <p:spPr>
          <a:xfrm>
            <a:off x="3349757" y="1600200"/>
            <a:ext cx="2604053"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8A5400D-CFB3-F44C-AB45-4877AB063ACA}"/>
              </a:ext>
            </a:extLst>
          </p:cNvPr>
          <p:cNvSpPr/>
          <p:nvPr userDrawn="1"/>
        </p:nvSpPr>
        <p:spPr>
          <a:xfrm>
            <a:off x="6230077" y="1600200"/>
            <a:ext cx="2604053"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FFF4BA6-D5B2-EB43-9CB2-A6511FA478F0}"/>
              </a:ext>
            </a:extLst>
          </p:cNvPr>
          <p:cNvSpPr/>
          <p:nvPr userDrawn="1"/>
        </p:nvSpPr>
        <p:spPr>
          <a:xfrm>
            <a:off x="9100458" y="1600200"/>
            <a:ext cx="2604053" cy="7951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4">
            <a:extLst>
              <a:ext uri="{FF2B5EF4-FFF2-40B4-BE49-F238E27FC236}">
                <a16:creationId xmlns:a16="http://schemas.microsoft.com/office/drawing/2014/main" id="{BD4A3BCA-04C0-38D1-20B5-D8D34738F312}"/>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212588467"/>
      </p:ext>
    </p:extLst>
  </p:cSld>
  <p:clrMapOvr>
    <a:masterClrMapping/>
  </p:clrMapOvr>
  <p:extLst>
    <p:ext uri="{DCECCB84-F9BA-43D5-87BE-67443E8EF086}">
      <p15:sldGuideLst xmlns:p15="http://schemas.microsoft.com/office/powerpoint/2012/main">
        <p15:guide id="7" pos="3747" userDrawn="1">
          <p15:clr>
            <a:srgbClr val="FBAE40"/>
          </p15:clr>
        </p15:guide>
        <p15:guide id="8" pos="3930" userDrawn="1">
          <p15:clr>
            <a:srgbClr val="FBAE40"/>
          </p15:clr>
        </p15:guide>
        <p15:guide id="9" pos="1936" userDrawn="1">
          <p15:clr>
            <a:srgbClr val="FBAE40"/>
          </p15:clr>
        </p15:guide>
        <p15:guide id="10" pos="2112" userDrawn="1">
          <p15:clr>
            <a:srgbClr val="FBAE40"/>
          </p15:clr>
        </p15:guide>
        <p15:guide id="11" pos="5564" userDrawn="1">
          <p15:clr>
            <a:srgbClr val="FBAE40"/>
          </p15:clr>
        </p15:guide>
        <p15:guide id="12" pos="5738"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x4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28" name="Content Placeholder 2">
            <a:extLst>
              <a:ext uri="{FF2B5EF4-FFF2-40B4-BE49-F238E27FC236}">
                <a16:creationId xmlns:a16="http://schemas.microsoft.com/office/drawing/2014/main" id="{54B8A52F-33C0-D73F-9A6B-8C0AC6B06508}"/>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35" name="Content Placeholder 31">
            <a:extLst>
              <a:ext uri="{FF2B5EF4-FFF2-40B4-BE49-F238E27FC236}">
                <a16:creationId xmlns:a16="http://schemas.microsoft.com/office/drawing/2014/main" id="{4D3A3232-B319-07F4-6165-71CDDC23BF29}"/>
              </a:ext>
            </a:extLst>
          </p:cNvPr>
          <p:cNvSpPr>
            <a:spLocks noGrp="1"/>
          </p:cNvSpPr>
          <p:nvPr>
            <p:ph sz="quarter" idx="17"/>
          </p:nvPr>
        </p:nvSpPr>
        <p:spPr>
          <a:xfrm>
            <a:off x="9120336" y="2097088"/>
            <a:ext cx="259397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B4BB1F47-7A61-C971-A8D8-6DA126684F44}"/>
              </a:ext>
            </a:extLst>
          </p:cNvPr>
          <p:cNvSpPr>
            <a:spLocks noGrp="1"/>
          </p:cNvSpPr>
          <p:nvPr>
            <p:ph type="title"/>
          </p:nvPr>
        </p:nvSpPr>
        <p:spPr/>
        <p:txBody>
          <a:bodyPr/>
          <a:lstStyle/>
          <a:p>
            <a:r>
              <a:rPr lang="en-US"/>
              <a:t>Click to edit Master title style</a:t>
            </a:r>
            <a:endParaRPr lang="en-AU"/>
          </a:p>
        </p:txBody>
      </p:sp>
      <p:sp>
        <p:nvSpPr>
          <p:cNvPr id="7" name="Content Placeholder 31">
            <a:extLst>
              <a:ext uri="{FF2B5EF4-FFF2-40B4-BE49-F238E27FC236}">
                <a16:creationId xmlns:a16="http://schemas.microsoft.com/office/drawing/2014/main" id="{5D76579A-71E9-1DBE-CFFD-28AC47CEBD56}"/>
              </a:ext>
            </a:extLst>
          </p:cNvPr>
          <p:cNvSpPr>
            <a:spLocks noGrp="1"/>
          </p:cNvSpPr>
          <p:nvPr>
            <p:ph sz="quarter" idx="18"/>
          </p:nvPr>
        </p:nvSpPr>
        <p:spPr>
          <a:xfrm>
            <a:off x="479424" y="4077072"/>
            <a:ext cx="259397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31">
            <a:extLst>
              <a:ext uri="{FF2B5EF4-FFF2-40B4-BE49-F238E27FC236}">
                <a16:creationId xmlns:a16="http://schemas.microsoft.com/office/drawing/2014/main" id="{CE8D9C60-008C-57BA-08E4-65550D551B67}"/>
              </a:ext>
            </a:extLst>
          </p:cNvPr>
          <p:cNvSpPr>
            <a:spLocks noGrp="1"/>
          </p:cNvSpPr>
          <p:nvPr>
            <p:ph sz="quarter" idx="19"/>
          </p:nvPr>
        </p:nvSpPr>
        <p:spPr>
          <a:xfrm>
            <a:off x="3354388" y="4077072"/>
            <a:ext cx="259397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31">
            <a:extLst>
              <a:ext uri="{FF2B5EF4-FFF2-40B4-BE49-F238E27FC236}">
                <a16:creationId xmlns:a16="http://schemas.microsoft.com/office/drawing/2014/main" id="{2C827092-A0E2-9234-C4CE-79F0366CC772}"/>
              </a:ext>
            </a:extLst>
          </p:cNvPr>
          <p:cNvSpPr>
            <a:spLocks noGrp="1"/>
          </p:cNvSpPr>
          <p:nvPr>
            <p:ph sz="quarter" idx="20"/>
          </p:nvPr>
        </p:nvSpPr>
        <p:spPr>
          <a:xfrm>
            <a:off x="6240016" y="4077072"/>
            <a:ext cx="259397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31">
            <a:extLst>
              <a:ext uri="{FF2B5EF4-FFF2-40B4-BE49-F238E27FC236}">
                <a16:creationId xmlns:a16="http://schemas.microsoft.com/office/drawing/2014/main" id="{42A47ABA-D6E5-C917-F109-E5640B4D17F4}"/>
              </a:ext>
            </a:extLst>
          </p:cNvPr>
          <p:cNvSpPr>
            <a:spLocks noGrp="1"/>
          </p:cNvSpPr>
          <p:nvPr>
            <p:ph sz="quarter" idx="21"/>
          </p:nvPr>
        </p:nvSpPr>
        <p:spPr>
          <a:xfrm>
            <a:off x="9120336" y="4077072"/>
            <a:ext cx="259397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Content Placeholder 10">
            <a:extLst>
              <a:ext uri="{FF2B5EF4-FFF2-40B4-BE49-F238E27FC236}">
                <a16:creationId xmlns:a16="http://schemas.microsoft.com/office/drawing/2014/main" id="{84F4A701-5424-EA96-5CF2-5D6940CFED6B}"/>
              </a:ext>
            </a:extLst>
          </p:cNvPr>
          <p:cNvSpPr>
            <a:spLocks noGrp="1"/>
          </p:cNvSpPr>
          <p:nvPr>
            <p:ph sz="quarter" idx="22"/>
          </p:nvPr>
        </p:nvSpPr>
        <p:spPr>
          <a:xfrm>
            <a:off x="479424" y="2097088"/>
            <a:ext cx="2593975" cy="1800000"/>
          </a:xfrm>
          <a:custGeom>
            <a:avLst/>
            <a:gdLst>
              <a:gd name="connsiteX0" fmla="*/ 0 w 2593975"/>
              <a:gd name="connsiteY0" fmla="*/ 0 h 1800000"/>
              <a:gd name="connsiteX1" fmla="*/ 2593975 w 2593975"/>
              <a:gd name="connsiteY1" fmla="*/ 0 h 1800000"/>
              <a:gd name="connsiteX2" fmla="*/ 2593975 w 2593975"/>
              <a:gd name="connsiteY2" fmla="*/ 1800000 h 1800000"/>
              <a:gd name="connsiteX3" fmla="*/ 0 w 25939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2593975" h="1800000">
                <a:moveTo>
                  <a:pt x="0" y="0"/>
                </a:moveTo>
                <a:lnTo>
                  <a:pt x="2593975" y="0"/>
                </a:lnTo>
                <a:lnTo>
                  <a:pt x="25939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Content Placeholder 13">
            <a:extLst>
              <a:ext uri="{FF2B5EF4-FFF2-40B4-BE49-F238E27FC236}">
                <a16:creationId xmlns:a16="http://schemas.microsoft.com/office/drawing/2014/main" id="{299C947B-CFFE-179D-EA0B-4127A287D691}"/>
              </a:ext>
            </a:extLst>
          </p:cNvPr>
          <p:cNvSpPr>
            <a:spLocks noGrp="1"/>
          </p:cNvSpPr>
          <p:nvPr>
            <p:ph sz="quarter" idx="23"/>
          </p:nvPr>
        </p:nvSpPr>
        <p:spPr>
          <a:xfrm>
            <a:off x="3354388" y="2097088"/>
            <a:ext cx="2593975" cy="1800000"/>
          </a:xfrm>
          <a:custGeom>
            <a:avLst/>
            <a:gdLst>
              <a:gd name="connsiteX0" fmla="*/ 0 w 2593975"/>
              <a:gd name="connsiteY0" fmla="*/ 0 h 1800000"/>
              <a:gd name="connsiteX1" fmla="*/ 2593975 w 2593975"/>
              <a:gd name="connsiteY1" fmla="*/ 0 h 1800000"/>
              <a:gd name="connsiteX2" fmla="*/ 2593975 w 2593975"/>
              <a:gd name="connsiteY2" fmla="*/ 1800000 h 1800000"/>
              <a:gd name="connsiteX3" fmla="*/ 0 w 25939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2593975" h="1800000">
                <a:moveTo>
                  <a:pt x="0" y="0"/>
                </a:moveTo>
                <a:lnTo>
                  <a:pt x="2593975" y="0"/>
                </a:lnTo>
                <a:lnTo>
                  <a:pt x="25939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6E001201-075D-8BB3-6AF7-BC1BF838A6CA}"/>
              </a:ext>
            </a:extLst>
          </p:cNvPr>
          <p:cNvSpPr>
            <a:spLocks noGrp="1"/>
          </p:cNvSpPr>
          <p:nvPr>
            <p:ph sz="quarter" idx="24"/>
          </p:nvPr>
        </p:nvSpPr>
        <p:spPr>
          <a:xfrm>
            <a:off x="6240016" y="2097088"/>
            <a:ext cx="2593975" cy="1800000"/>
          </a:xfrm>
          <a:custGeom>
            <a:avLst/>
            <a:gdLst>
              <a:gd name="connsiteX0" fmla="*/ 0 w 2593975"/>
              <a:gd name="connsiteY0" fmla="*/ 0 h 1800000"/>
              <a:gd name="connsiteX1" fmla="*/ 2593975 w 2593975"/>
              <a:gd name="connsiteY1" fmla="*/ 0 h 1800000"/>
              <a:gd name="connsiteX2" fmla="*/ 2593975 w 2593975"/>
              <a:gd name="connsiteY2" fmla="*/ 1800000 h 1800000"/>
              <a:gd name="connsiteX3" fmla="*/ 0 w 25939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2593975" h="1800000">
                <a:moveTo>
                  <a:pt x="0" y="0"/>
                </a:moveTo>
                <a:lnTo>
                  <a:pt x="2593975" y="0"/>
                </a:lnTo>
                <a:lnTo>
                  <a:pt x="25939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EB4F3C9A-898E-D7DE-D4F8-87C5CD2E796C}"/>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428088434"/>
      </p:ext>
    </p:extLst>
  </p:cSld>
  <p:clrMapOvr>
    <a:masterClrMapping/>
  </p:clrMapOvr>
  <p:extLst>
    <p:ext uri="{DCECCB84-F9BA-43D5-87BE-67443E8EF086}">
      <p15:sldGuideLst xmlns:p15="http://schemas.microsoft.com/office/powerpoint/2012/main">
        <p15:guide id="9" pos="3747" userDrawn="1">
          <p15:clr>
            <a:srgbClr val="FBAE40"/>
          </p15:clr>
        </p15:guide>
        <p15:guide id="10" pos="3930" userDrawn="1">
          <p15:clr>
            <a:srgbClr val="FBAE40"/>
          </p15:clr>
        </p15:guide>
        <p15:guide id="11" pos="1936" userDrawn="1">
          <p15:clr>
            <a:srgbClr val="FBAE40"/>
          </p15:clr>
        </p15:guide>
        <p15:guide id="12" pos="2112" userDrawn="1">
          <p15:clr>
            <a:srgbClr val="FBAE40"/>
          </p15:clr>
        </p15:guide>
        <p15:guide id="13" pos="5564" userDrawn="1">
          <p15:clr>
            <a:srgbClr val="FBAE40"/>
          </p15:clr>
        </p15:guide>
        <p15:guide id="14" pos="5738" userDrawn="1">
          <p15:clr>
            <a:srgbClr val="FBAE40"/>
          </p15:clr>
        </p15:guide>
        <p15:guide id="15" orient="horz" pos="2559" userDrawn="1">
          <p15:clr>
            <a:srgbClr val="FBAE40"/>
          </p15:clr>
        </p15:guide>
        <p15:guide id="16" orient="horz" pos="2453"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4x4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35" name="Content Placeholder 31">
            <a:extLst>
              <a:ext uri="{FF2B5EF4-FFF2-40B4-BE49-F238E27FC236}">
                <a16:creationId xmlns:a16="http://schemas.microsoft.com/office/drawing/2014/main" id="{4D3A3232-B319-07F4-6165-71CDDC23BF29}"/>
              </a:ext>
            </a:extLst>
          </p:cNvPr>
          <p:cNvSpPr>
            <a:spLocks noGrp="1"/>
          </p:cNvSpPr>
          <p:nvPr>
            <p:ph sz="quarter" idx="17"/>
          </p:nvPr>
        </p:nvSpPr>
        <p:spPr>
          <a:xfrm>
            <a:off x="9120336" y="1782502"/>
            <a:ext cx="2593975" cy="177616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B4BB1F47-7A61-C971-A8D8-6DA126684F44}"/>
              </a:ext>
            </a:extLst>
          </p:cNvPr>
          <p:cNvSpPr>
            <a:spLocks noGrp="1"/>
          </p:cNvSpPr>
          <p:nvPr>
            <p:ph type="title"/>
          </p:nvPr>
        </p:nvSpPr>
        <p:spPr/>
        <p:txBody>
          <a:bodyPr/>
          <a:lstStyle/>
          <a:p>
            <a:r>
              <a:rPr lang="en-US"/>
              <a:t>Click to edit Master title style</a:t>
            </a:r>
            <a:endParaRPr lang="en-AU"/>
          </a:p>
        </p:txBody>
      </p:sp>
      <p:sp>
        <p:nvSpPr>
          <p:cNvPr id="7" name="Content Placeholder 31">
            <a:extLst>
              <a:ext uri="{FF2B5EF4-FFF2-40B4-BE49-F238E27FC236}">
                <a16:creationId xmlns:a16="http://schemas.microsoft.com/office/drawing/2014/main" id="{5D76579A-71E9-1DBE-CFFD-28AC47CEBD56}"/>
              </a:ext>
            </a:extLst>
          </p:cNvPr>
          <p:cNvSpPr>
            <a:spLocks noGrp="1"/>
          </p:cNvSpPr>
          <p:nvPr>
            <p:ph sz="quarter" idx="18"/>
          </p:nvPr>
        </p:nvSpPr>
        <p:spPr>
          <a:xfrm>
            <a:off x="479424" y="3762486"/>
            <a:ext cx="2593975" cy="177616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31">
            <a:extLst>
              <a:ext uri="{FF2B5EF4-FFF2-40B4-BE49-F238E27FC236}">
                <a16:creationId xmlns:a16="http://schemas.microsoft.com/office/drawing/2014/main" id="{CE8D9C60-008C-57BA-08E4-65550D551B67}"/>
              </a:ext>
            </a:extLst>
          </p:cNvPr>
          <p:cNvSpPr>
            <a:spLocks noGrp="1"/>
          </p:cNvSpPr>
          <p:nvPr>
            <p:ph sz="quarter" idx="19"/>
          </p:nvPr>
        </p:nvSpPr>
        <p:spPr>
          <a:xfrm>
            <a:off x="3354388" y="3762486"/>
            <a:ext cx="2593975" cy="177616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31">
            <a:extLst>
              <a:ext uri="{FF2B5EF4-FFF2-40B4-BE49-F238E27FC236}">
                <a16:creationId xmlns:a16="http://schemas.microsoft.com/office/drawing/2014/main" id="{2C827092-A0E2-9234-C4CE-79F0366CC772}"/>
              </a:ext>
            </a:extLst>
          </p:cNvPr>
          <p:cNvSpPr>
            <a:spLocks noGrp="1"/>
          </p:cNvSpPr>
          <p:nvPr>
            <p:ph sz="quarter" idx="20"/>
          </p:nvPr>
        </p:nvSpPr>
        <p:spPr>
          <a:xfrm>
            <a:off x="6240016" y="3762486"/>
            <a:ext cx="2593975" cy="177616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31">
            <a:extLst>
              <a:ext uri="{FF2B5EF4-FFF2-40B4-BE49-F238E27FC236}">
                <a16:creationId xmlns:a16="http://schemas.microsoft.com/office/drawing/2014/main" id="{42A47ABA-D6E5-C917-F109-E5640B4D17F4}"/>
              </a:ext>
            </a:extLst>
          </p:cNvPr>
          <p:cNvSpPr>
            <a:spLocks noGrp="1"/>
          </p:cNvSpPr>
          <p:nvPr>
            <p:ph sz="quarter" idx="21"/>
          </p:nvPr>
        </p:nvSpPr>
        <p:spPr>
          <a:xfrm>
            <a:off x="9120336" y="3762486"/>
            <a:ext cx="2593975" cy="177616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Content Placeholder 10">
            <a:extLst>
              <a:ext uri="{FF2B5EF4-FFF2-40B4-BE49-F238E27FC236}">
                <a16:creationId xmlns:a16="http://schemas.microsoft.com/office/drawing/2014/main" id="{84F4A701-5424-EA96-5CF2-5D6940CFED6B}"/>
              </a:ext>
            </a:extLst>
          </p:cNvPr>
          <p:cNvSpPr>
            <a:spLocks noGrp="1"/>
          </p:cNvSpPr>
          <p:nvPr>
            <p:ph sz="quarter" idx="22"/>
          </p:nvPr>
        </p:nvSpPr>
        <p:spPr>
          <a:xfrm>
            <a:off x="479424" y="1782502"/>
            <a:ext cx="2593975" cy="1776166"/>
          </a:xfrm>
          <a:custGeom>
            <a:avLst/>
            <a:gdLst>
              <a:gd name="connsiteX0" fmla="*/ 0 w 2593975"/>
              <a:gd name="connsiteY0" fmla="*/ 0 h 1800000"/>
              <a:gd name="connsiteX1" fmla="*/ 2593975 w 2593975"/>
              <a:gd name="connsiteY1" fmla="*/ 0 h 1800000"/>
              <a:gd name="connsiteX2" fmla="*/ 2593975 w 2593975"/>
              <a:gd name="connsiteY2" fmla="*/ 1800000 h 1800000"/>
              <a:gd name="connsiteX3" fmla="*/ 0 w 25939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2593975" h="1800000">
                <a:moveTo>
                  <a:pt x="0" y="0"/>
                </a:moveTo>
                <a:lnTo>
                  <a:pt x="2593975" y="0"/>
                </a:lnTo>
                <a:lnTo>
                  <a:pt x="25939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Content Placeholder 13">
            <a:extLst>
              <a:ext uri="{FF2B5EF4-FFF2-40B4-BE49-F238E27FC236}">
                <a16:creationId xmlns:a16="http://schemas.microsoft.com/office/drawing/2014/main" id="{299C947B-CFFE-179D-EA0B-4127A287D691}"/>
              </a:ext>
            </a:extLst>
          </p:cNvPr>
          <p:cNvSpPr>
            <a:spLocks noGrp="1"/>
          </p:cNvSpPr>
          <p:nvPr>
            <p:ph sz="quarter" idx="23"/>
          </p:nvPr>
        </p:nvSpPr>
        <p:spPr>
          <a:xfrm>
            <a:off x="3354388" y="1782502"/>
            <a:ext cx="2593975" cy="1776166"/>
          </a:xfrm>
          <a:custGeom>
            <a:avLst/>
            <a:gdLst>
              <a:gd name="connsiteX0" fmla="*/ 0 w 2593975"/>
              <a:gd name="connsiteY0" fmla="*/ 0 h 1800000"/>
              <a:gd name="connsiteX1" fmla="*/ 2593975 w 2593975"/>
              <a:gd name="connsiteY1" fmla="*/ 0 h 1800000"/>
              <a:gd name="connsiteX2" fmla="*/ 2593975 w 2593975"/>
              <a:gd name="connsiteY2" fmla="*/ 1800000 h 1800000"/>
              <a:gd name="connsiteX3" fmla="*/ 0 w 25939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2593975" h="1800000">
                <a:moveTo>
                  <a:pt x="0" y="0"/>
                </a:moveTo>
                <a:lnTo>
                  <a:pt x="2593975" y="0"/>
                </a:lnTo>
                <a:lnTo>
                  <a:pt x="25939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Content Placeholder 16">
            <a:extLst>
              <a:ext uri="{FF2B5EF4-FFF2-40B4-BE49-F238E27FC236}">
                <a16:creationId xmlns:a16="http://schemas.microsoft.com/office/drawing/2014/main" id="{6E001201-075D-8BB3-6AF7-BC1BF838A6CA}"/>
              </a:ext>
            </a:extLst>
          </p:cNvPr>
          <p:cNvSpPr>
            <a:spLocks noGrp="1"/>
          </p:cNvSpPr>
          <p:nvPr>
            <p:ph sz="quarter" idx="24"/>
          </p:nvPr>
        </p:nvSpPr>
        <p:spPr>
          <a:xfrm>
            <a:off x="6240016" y="1782502"/>
            <a:ext cx="2593975" cy="1776166"/>
          </a:xfrm>
          <a:custGeom>
            <a:avLst/>
            <a:gdLst>
              <a:gd name="connsiteX0" fmla="*/ 0 w 2593975"/>
              <a:gd name="connsiteY0" fmla="*/ 0 h 1800000"/>
              <a:gd name="connsiteX1" fmla="*/ 2593975 w 2593975"/>
              <a:gd name="connsiteY1" fmla="*/ 0 h 1800000"/>
              <a:gd name="connsiteX2" fmla="*/ 2593975 w 2593975"/>
              <a:gd name="connsiteY2" fmla="*/ 1800000 h 1800000"/>
              <a:gd name="connsiteX3" fmla="*/ 0 w 25939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2593975" h="1800000">
                <a:moveTo>
                  <a:pt x="0" y="0"/>
                </a:moveTo>
                <a:lnTo>
                  <a:pt x="2593975" y="0"/>
                </a:lnTo>
                <a:lnTo>
                  <a:pt x="2593975" y="1800000"/>
                </a:lnTo>
                <a:lnTo>
                  <a:pt x="0" y="1800000"/>
                </a:lnTo>
                <a:close/>
              </a:path>
            </a:pathLst>
          </a:custGeom>
        </p:spPr>
        <p:txBody>
          <a:bodyPr wrap="square">
            <a:noAutofit/>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Footer Placeholder 4">
            <a:extLst>
              <a:ext uri="{FF2B5EF4-FFF2-40B4-BE49-F238E27FC236}">
                <a16:creationId xmlns:a16="http://schemas.microsoft.com/office/drawing/2014/main" id="{BF2D5717-9300-ADC2-FF9A-B4797A70578D}"/>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440667880"/>
      </p:ext>
    </p:extLst>
  </p:cSld>
  <p:clrMapOvr>
    <a:masterClrMapping/>
  </p:clrMapOvr>
  <p:extLst>
    <p:ext uri="{DCECCB84-F9BA-43D5-87BE-67443E8EF086}">
      <p15:sldGuideLst xmlns:p15="http://schemas.microsoft.com/office/powerpoint/2012/main">
        <p15:guide id="9" pos="3747" userDrawn="1">
          <p15:clr>
            <a:srgbClr val="FBAE40"/>
          </p15:clr>
        </p15:guide>
        <p15:guide id="10" pos="3930" userDrawn="1">
          <p15:clr>
            <a:srgbClr val="FBAE40"/>
          </p15:clr>
        </p15:guide>
        <p15:guide id="11" pos="1936" userDrawn="1">
          <p15:clr>
            <a:srgbClr val="FBAE40"/>
          </p15:clr>
        </p15:guide>
        <p15:guide id="12" pos="2112" userDrawn="1">
          <p15:clr>
            <a:srgbClr val="FBAE40"/>
          </p15:clr>
        </p15:guide>
        <p15:guide id="13" pos="5564" userDrawn="1">
          <p15:clr>
            <a:srgbClr val="FBAE40"/>
          </p15:clr>
        </p15:guide>
        <p15:guide id="14" pos="5738" userDrawn="1">
          <p15:clr>
            <a:srgbClr val="FBAE40"/>
          </p15:clr>
        </p15:guide>
        <p15:guide id="15" orient="horz" pos="2559" userDrawn="1">
          <p15:clr>
            <a:srgbClr val="FBAE40"/>
          </p15:clr>
        </p15:guide>
        <p15:guide id="16" orient="horz" pos="24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x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316D87-7007-ABF0-6579-8A2B65055FBA}"/>
              </a:ext>
            </a:extLst>
          </p:cNvPr>
          <p:cNvSpPr>
            <a:spLocks noGrp="1"/>
          </p:cNvSpPr>
          <p:nvPr>
            <p:ph idx="1"/>
          </p:nvPr>
        </p:nvSpPr>
        <p:spPr>
          <a:xfrm>
            <a:off x="479425" y="2097088"/>
            <a:ext cx="5362576"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2">
            <a:extLst>
              <a:ext uri="{FF2B5EF4-FFF2-40B4-BE49-F238E27FC236}">
                <a16:creationId xmlns:a16="http://schemas.microsoft.com/office/drawing/2014/main" id="{215E7309-E66A-F35B-DD1F-99818CB74CA7}"/>
              </a:ext>
            </a:extLst>
          </p:cNvPr>
          <p:cNvSpPr>
            <a:spLocks noGrp="1"/>
          </p:cNvSpPr>
          <p:nvPr>
            <p:ph idx="13"/>
          </p:nvPr>
        </p:nvSpPr>
        <p:spPr>
          <a:xfrm>
            <a:off x="6350000" y="2097088"/>
            <a:ext cx="536257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2">
            <a:extLst>
              <a:ext uri="{FF2B5EF4-FFF2-40B4-BE49-F238E27FC236}">
                <a16:creationId xmlns:a16="http://schemas.microsoft.com/office/drawing/2014/main" id="{0BACD8DB-6300-918D-C83B-B4C3A1E87BA8}"/>
              </a:ext>
            </a:extLst>
          </p:cNvPr>
          <p:cNvSpPr>
            <a:spLocks noGrp="1"/>
          </p:cNvSpPr>
          <p:nvPr>
            <p:ph idx="14"/>
          </p:nvPr>
        </p:nvSpPr>
        <p:spPr>
          <a:xfrm>
            <a:off x="479425" y="4084280"/>
            <a:ext cx="11250295" cy="1800000"/>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11">
            <a:extLst>
              <a:ext uri="{FF2B5EF4-FFF2-40B4-BE49-F238E27FC236}">
                <a16:creationId xmlns:a16="http://schemas.microsoft.com/office/drawing/2014/main" id="{6EBB2897-E5A8-B72A-FB17-406B593CECFA}"/>
              </a:ext>
            </a:extLst>
          </p:cNvPr>
          <p:cNvSpPr>
            <a:spLocks noGrp="1"/>
          </p:cNvSpPr>
          <p:nvPr>
            <p:ph type="title"/>
          </p:nvPr>
        </p:nvSpPr>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9FF82A80-F1FD-F37D-3931-94DDE4F0D834}"/>
              </a:ext>
            </a:extLst>
          </p:cNvPr>
          <p:cNvSpPr>
            <a:spLocks noGrp="1"/>
          </p:cNvSpPr>
          <p:nvPr>
            <p:ph type="sldNum" sz="quarter" idx="15"/>
          </p:nvPr>
        </p:nvSpPr>
        <p:spPr/>
        <p:txBody>
          <a:bodyPr/>
          <a:lstStyle/>
          <a:p>
            <a:fld id="{E4C2AD82-1025-4508-97C1-6F7EE5C92734}" type="slidenum">
              <a:rPr lang="en-AU" smtClean="0"/>
              <a:pPr/>
              <a:t>‹#›</a:t>
            </a:fld>
            <a:endParaRPr lang="en-AU"/>
          </a:p>
        </p:txBody>
      </p:sp>
      <p:sp>
        <p:nvSpPr>
          <p:cNvPr id="6" name="Content Placeholder 2">
            <a:extLst>
              <a:ext uri="{FF2B5EF4-FFF2-40B4-BE49-F238E27FC236}">
                <a16:creationId xmlns:a16="http://schemas.microsoft.com/office/drawing/2014/main" id="{A427F63F-ABBD-FA72-55F6-A5D5E38D0A7D}"/>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7" name="Footer Placeholder 4">
            <a:extLst>
              <a:ext uri="{FF2B5EF4-FFF2-40B4-BE49-F238E27FC236}">
                <a16:creationId xmlns:a16="http://schemas.microsoft.com/office/drawing/2014/main" id="{972A7894-0C3A-22FD-AF29-60237AD4D245}"/>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502474621"/>
      </p:ext>
    </p:extLst>
  </p:cSld>
  <p:clrMapOvr>
    <a:masterClrMapping/>
  </p:clrMapOvr>
  <p:extLst>
    <p:ext uri="{DCECCB84-F9BA-43D5-87BE-67443E8EF086}">
      <p15:sldGuideLst xmlns:p15="http://schemas.microsoft.com/office/powerpoint/2012/main">
        <p15:guide id="5" pos="3688" userDrawn="1">
          <p15:clr>
            <a:srgbClr val="FBAE40"/>
          </p15:clr>
        </p15:guide>
        <p15:guide id="6" pos="4000" userDrawn="1">
          <p15:clr>
            <a:srgbClr val="FBAE40"/>
          </p15:clr>
        </p15:guide>
        <p15:guide id="7" orient="horz" pos="2568" userDrawn="1">
          <p15:clr>
            <a:srgbClr val="FBAE40"/>
          </p15:clr>
        </p15:guide>
        <p15:guide id="8" orient="horz" pos="247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x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316D87-7007-ABF0-6579-8A2B65055FBA}"/>
              </a:ext>
            </a:extLst>
          </p:cNvPr>
          <p:cNvSpPr>
            <a:spLocks noGrp="1"/>
          </p:cNvSpPr>
          <p:nvPr>
            <p:ph idx="1"/>
          </p:nvPr>
        </p:nvSpPr>
        <p:spPr>
          <a:xfrm>
            <a:off x="479425" y="1782502"/>
            <a:ext cx="5362576" cy="18473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2">
            <a:extLst>
              <a:ext uri="{FF2B5EF4-FFF2-40B4-BE49-F238E27FC236}">
                <a16:creationId xmlns:a16="http://schemas.microsoft.com/office/drawing/2014/main" id="{215E7309-E66A-F35B-DD1F-99818CB74CA7}"/>
              </a:ext>
            </a:extLst>
          </p:cNvPr>
          <p:cNvSpPr>
            <a:spLocks noGrp="1"/>
          </p:cNvSpPr>
          <p:nvPr>
            <p:ph idx="13"/>
          </p:nvPr>
        </p:nvSpPr>
        <p:spPr>
          <a:xfrm>
            <a:off x="6350000" y="1782502"/>
            <a:ext cx="5362575" cy="18473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2">
            <a:extLst>
              <a:ext uri="{FF2B5EF4-FFF2-40B4-BE49-F238E27FC236}">
                <a16:creationId xmlns:a16="http://schemas.microsoft.com/office/drawing/2014/main" id="{0BACD8DB-6300-918D-C83B-B4C3A1E87BA8}"/>
              </a:ext>
            </a:extLst>
          </p:cNvPr>
          <p:cNvSpPr>
            <a:spLocks noGrp="1"/>
          </p:cNvSpPr>
          <p:nvPr>
            <p:ph idx="14"/>
          </p:nvPr>
        </p:nvSpPr>
        <p:spPr>
          <a:xfrm>
            <a:off x="479425" y="3769694"/>
            <a:ext cx="11250295" cy="18473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11">
            <a:extLst>
              <a:ext uri="{FF2B5EF4-FFF2-40B4-BE49-F238E27FC236}">
                <a16:creationId xmlns:a16="http://schemas.microsoft.com/office/drawing/2014/main" id="{6EBB2897-E5A8-B72A-FB17-406B593CECFA}"/>
              </a:ext>
            </a:extLst>
          </p:cNvPr>
          <p:cNvSpPr>
            <a:spLocks noGrp="1"/>
          </p:cNvSpPr>
          <p:nvPr>
            <p:ph type="title"/>
          </p:nvPr>
        </p:nvSpPr>
        <p:spPr/>
        <p:txBody>
          <a:body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9FF82A80-F1FD-F37D-3931-94DDE4F0D834}"/>
              </a:ext>
            </a:extLst>
          </p:cNvPr>
          <p:cNvSpPr>
            <a:spLocks noGrp="1"/>
          </p:cNvSpPr>
          <p:nvPr>
            <p:ph type="sldNum" sz="quarter" idx="15"/>
          </p:nvPr>
        </p:nvSpPr>
        <p:spPr/>
        <p:txBody>
          <a:bodyPr/>
          <a:lstStyle/>
          <a:p>
            <a:fld id="{E4C2AD82-1025-4508-97C1-6F7EE5C92734}" type="slidenum">
              <a:rPr lang="en-AU" smtClean="0"/>
              <a:pPr/>
              <a:t>‹#›</a:t>
            </a:fld>
            <a:endParaRPr lang="en-AU"/>
          </a:p>
        </p:txBody>
      </p:sp>
      <p:sp>
        <p:nvSpPr>
          <p:cNvPr id="6" name="Footer Placeholder 4">
            <a:extLst>
              <a:ext uri="{FF2B5EF4-FFF2-40B4-BE49-F238E27FC236}">
                <a16:creationId xmlns:a16="http://schemas.microsoft.com/office/drawing/2014/main" id="{AE29715C-208B-CA43-B0A5-DA3FADB5EC6F}"/>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874530493"/>
      </p:ext>
    </p:extLst>
  </p:cSld>
  <p:clrMapOvr>
    <a:masterClrMapping/>
  </p:clrMapOvr>
  <p:extLst>
    <p:ext uri="{DCECCB84-F9BA-43D5-87BE-67443E8EF086}">
      <p15:sldGuideLst xmlns:p15="http://schemas.microsoft.com/office/powerpoint/2012/main">
        <p15:guide id="5" pos="3688" userDrawn="1">
          <p15:clr>
            <a:srgbClr val="FBAE40"/>
          </p15:clr>
        </p15:guide>
        <p15:guide id="6" pos="4000" userDrawn="1">
          <p15:clr>
            <a:srgbClr val="FBAE40"/>
          </p15:clr>
        </p15:guide>
        <p15:guide id="7" orient="horz" pos="2568" userDrawn="1">
          <p15:clr>
            <a:srgbClr val="FBAE40"/>
          </p15:clr>
        </p15:guide>
        <p15:guide id="8" orient="horz" pos="2470"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lumn 3/4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316D87-7007-ABF0-6579-8A2B65055FBA}"/>
              </a:ext>
            </a:extLst>
          </p:cNvPr>
          <p:cNvSpPr>
            <a:spLocks noGrp="1"/>
          </p:cNvSpPr>
          <p:nvPr>
            <p:ph idx="1"/>
          </p:nvPr>
        </p:nvSpPr>
        <p:spPr>
          <a:xfrm>
            <a:off x="479426" y="2097088"/>
            <a:ext cx="3492412" cy="3960812"/>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Slide Number Placeholder 6">
            <a:extLst>
              <a:ext uri="{FF2B5EF4-FFF2-40B4-BE49-F238E27FC236}">
                <a16:creationId xmlns:a16="http://schemas.microsoft.com/office/drawing/2014/main" id="{00C3F36A-E619-235C-1B32-044801D0CBB6}"/>
              </a:ext>
            </a:extLst>
          </p:cNvPr>
          <p:cNvSpPr>
            <a:spLocks noGrp="1"/>
          </p:cNvSpPr>
          <p:nvPr>
            <p:ph type="sldNum" sz="quarter" idx="48"/>
          </p:nvPr>
        </p:nvSpPr>
        <p:spPr/>
        <p:txBody>
          <a:bodyPr/>
          <a:lstStyle/>
          <a:p>
            <a:fld id="{E4C2AD82-1025-4508-97C1-6F7EE5C92734}" type="slidenum">
              <a:rPr lang="en-AU" smtClean="0"/>
              <a:pPr/>
              <a:t>‹#›</a:t>
            </a:fld>
            <a:endParaRPr lang="en-AU"/>
          </a:p>
        </p:txBody>
      </p:sp>
      <p:sp>
        <p:nvSpPr>
          <p:cNvPr id="8" name="Picture Placeholder 10">
            <a:extLst>
              <a:ext uri="{FF2B5EF4-FFF2-40B4-BE49-F238E27FC236}">
                <a16:creationId xmlns:a16="http://schemas.microsoft.com/office/drawing/2014/main" id="{FAA9C257-6DD9-A8BF-4A36-D12498E963B5}"/>
              </a:ext>
            </a:extLst>
          </p:cNvPr>
          <p:cNvSpPr>
            <a:spLocks noGrp="1"/>
          </p:cNvSpPr>
          <p:nvPr>
            <p:ph type="pic" sz="quarter" idx="34" hasCustomPrompt="1"/>
          </p:nvPr>
        </p:nvSpPr>
        <p:spPr>
          <a:xfrm>
            <a:off x="4470400" y="138818"/>
            <a:ext cx="7721601"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2" name="Title 1">
            <a:extLst>
              <a:ext uri="{FF2B5EF4-FFF2-40B4-BE49-F238E27FC236}">
                <a16:creationId xmlns:a16="http://schemas.microsoft.com/office/drawing/2014/main" id="{C4275AE2-6B71-4242-946A-7EFEA19F3B76}"/>
              </a:ext>
            </a:extLst>
          </p:cNvPr>
          <p:cNvSpPr>
            <a:spLocks noGrp="1"/>
          </p:cNvSpPr>
          <p:nvPr>
            <p:ph type="title"/>
          </p:nvPr>
        </p:nvSpPr>
        <p:spPr>
          <a:xfrm>
            <a:off x="479425" y="604203"/>
            <a:ext cx="3508375" cy="1257109"/>
          </a:xfrm>
        </p:spPr>
        <p:txBody>
          <a:bodyPr/>
          <a:lstStyle/>
          <a:p>
            <a:r>
              <a:rPr lang="en-US"/>
              <a:t>Click to edit Master title style</a:t>
            </a:r>
            <a:endParaRPr lang="en-AU"/>
          </a:p>
        </p:txBody>
      </p:sp>
      <p:sp>
        <p:nvSpPr>
          <p:cNvPr id="4" name="Text Placeholder 5">
            <a:extLst>
              <a:ext uri="{FF2B5EF4-FFF2-40B4-BE49-F238E27FC236}">
                <a16:creationId xmlns:a16="http://schemas.microsoft.com/office/drawing/2014/main" id="{676AEBC2-D6D6-6A82-C087-5D18BFBB3C64}"/>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6" name="Footer Placeholder 4">
            <a:extLst>
              <a:ext uri="{FF2B5EF4-FFF2-40B4-BE49-F238E27FC236}">
                <a16:creationId xmlns:a16="http://schemas.microsoft.com/office/drawing/2014/main" id="{5F9C19F2-C830-ABFE-A829-B9EC158EE51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940740797"/>
      </p:ext>
    </p:extLst>
  </p:cSld>
  <p:clrMapOvr>
    <a:masterClrMapping/>
  </p:clrMapOvr>
  <p:extLst>
    <p:ext uri="{DCECCB84-F9BA-43D5-87BE-67443E8EF086}">
      <p15:sldGuideLst xmlns:p15="http://schemas.microsoft.com/office/powerpoint/2012/main">
        <p15:guide id="3" pos="2512" userDrawn="1">
          <p15:clr>
            <a:srgbClr val="FBAE40"/>
          </p15:clr>
        </p15:guide>
        <p15:guide id="4" pos="2816"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4 image + 3 stats_white">
    <p:spTree>
      <p:nvGrpSpPr>
        <p:cNvPr id="1" name=""/>
        <p:cNvGrpSpPr/>
        <p:nvPr/>
      </p:nvGrpSpPr>
      <p:grpSpPr>
        <a:xfrm>
          <a:off x="0" y="0"/>
          <a:ext cx="0" cy="0"/>
          <a:chOff x="0" y="0"/>
          <a:chExt cx="0" cy="0"/>
        </a:xfrm>
      </p:grpSpPr>
      <p:sp>
        <p:nvSpPr>
          <p:cNvPr id="8" name="Text Placeholder 19">
            <a:extLst>
              <a:ext uri="{FF2B5EF4-FFF2-40B4-BE49-F238E27FC236}">
                <a16:creationId xmlns:a16="http://schemas.microsoft.com/office/drawing/2014/main" id="{9DB474E9-4FAC-7BAE-4918-F65476ABD12C}"/>
              </a:ext>
            </a:extLst>
          </p:cNvPr>
          <p:cNvSpPr>
            <a:spLocks noGrp="1"/>
          </p:cNvSpPr>
          <p:nvPr>
            <p:ph type="body" sz="quarter" idx="25" hasCustomPrompt="1"/>
          </p:nvPr>
        </p:nvSpPr>
        <p:spPr>
          <a:xfrm>
            <a:off x="1132841" y="2363788"/>
            <a:ext cx="2854960" cy="875665"/>
          </a:xfrm>
        </p:spPr>
        <p:txBody>
          <a:bodyPr/>
          <a:lstStyle>
            <a:lvl1pPr>
              <a:lnSpc>
                <a:spcPct val="90000"/>
              </a:lnSpc>
              <a:spcBef>
                <a:spcPts val="0"/>
              </a:spcBef>
              <a:spcAft>
                <a:spcPts val="0"/>
              </a:spcAft>
              <a:defRPr lang="en-US" sz="4400" b="1"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0" name="Text Placeholder 19">
            <a:extLst>
              <a:ext uri="{FF2B5EF4-FFF2-40B4-BE49-F238E27FC236}">
                <a16:creationId xmlns:a16="http://schemas.microsoft.com/office/drawing/2014/main" id="{62B4B654-D4AC-315C-743D-4D2A637BEA83}"/>
              </a:ext>
            </a:extLst>
          </p:cNvPr>
          <p:cNvSpPr>
            <a:spLocks noGrp="1"/>
          </p:cNvSpPr>
          <p:nvPr>
            <p:ph type="body" sz="quarter" idx="29" hasCustomPrompt="1"/>
          </p:nvPr>
        </p:nvSpPr>
        <p:spPr>
          <a:xfrm>
            <a:off x="1132841" y="3690461"/>
            <a:ext cx="2854960" cy="875665"/>
          </a:xfrm>
        </p:spPr>
        <p:txBody>
          <a:bodyPr/>
          <a:lstStyle>
            <a:lvl1pPr>
              <a:lnSpc>
                <a:spcPct val="90000"/>
              </a:lnSpc>
              <a:spcBef>
                <a:spcPts val="0"/>
              </a:spcBef>
              <a:spcAft>
                <a:spcPts val="0"/>
              </a:spcAft>
              <a:defRPr lang="en-US" sz="4400" b="1"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2" name="Text Placeholder 19">
            <a:extLst>
              <a:ext uri="{FF2B5EF4-FFF2-40B4-BE49-F238E27FC236}">
                <a16:creationId xmlns:a16="http://schemas.microsoft.com/office/drawing/2014/main" id="{ED2F1526-4AE4-BD31-908A-FD02FAA97DF9}"/>
              </a:ext>
            </a:extLst>
          </p:cNvPr>
          <p:cNvSpPr>
            <a:spLocks noGrp="1"/>
          </p:cNvSpPr>
          <p:nvPr>
            <p:ph type="body" sz="quarter" idx="31" hasCustomPrompt="1"/>
          </p:nvPr>
        </p:nvSpPr>
        <p:spPr>
          <a:xfrm>
            <a:off x="1132841" y="5017135"/>
            <a:ext cx="2854960" cy="875665"/>
          </a:xfrm>
        </p:spPr>
        <p:txBody>
          <a:bodyPr/>
          <a:lstStyle>
            <a:lvl1pPr>
              <a:lnSpc>
                <a:spcPct val="90000"/>
              </a:lnSpc>
              <a:spcBef>
                <a:spcPts val="0"/>
              </a:spcBef>
              <a:spcAft>
                <a:spcPts val="0"/>
              </a:spcAft>
              <a:defRPr lang="en-US" sz="4400" b="1"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3" name="Slide Number Placeholder 2">
            <a:extLst>
              <a:ext uri="{FF2B5EF4-FFF2-40B4-BE49-F238E27FC236}">
                <a16:creationId xmlns:a16="http://schemas.microsoft.com/office/drawing/2014/main" id="{E2AA115E-D9AA-0A7E-0084-122EB5DFD13F}"/>
              </a:ext>
            </a:extLst>
          </p:cNvPr>
          <p:cNvSpPr>
            <a:spLocks noGrp="1"/>
          </p:cNvSpPr>
          <p:nvPr>
            <p:ph type="sldNum" sz="quarter" idx="48"/>
          </p:nvPr>
        </p:nvSpPr>
        <p:spPr/>
        <p:txBody>
          <a:bodyPr/>
          <a:lstStyle/>
          <a:p>
            <a:fld id="{E4C2AD82-1025-4508-97C1-6F7EE5C92734}" type="slidenum">
              <a:rPr lang="en-AU" smtClean="0"/>
              <a:pPr/>
              <a:t>‹#›</a:t>
            </a:fld>
            <a:endParaRPr lang="en-AU"/>
          </a:p>
        </p:txBody>
      </p:sp>
      <p:sp>
        <p:nvSpPr>
          <p:cNvPr id="14" name="Picture Placeholder 10">
            <a:extLst>
              <a:ext uri="{FF2B5EF4-FFF2-40B4-BE49-F238E27FC236}">
                <a16:creationId xmlns:a16="http://schemas.microsoft.com/office/drawing/2014/main" id="{C9D67DE0-F509-59F0-9280-9F130E5DB85B}"/>
              </a:ext>
            </a:extLst>
          </p:cNvPr>
          <p:cNvSpPr>
            <a:spLocks noGrp="1"/>
          </p:cNvSpPr>
          <p:nvPr>
            <p:ph type="pic" sz="quarter" idx="34" hasCustomPrompt="1"/>
          </p:nvPr>
        </p:nvSpPr>
        <p:spPr>
          <a:xfrm>
            <a:off x="4470400" y="138818"/>
            <a:ext cx="7721601"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13" name="Title 12">
            <a:extLst>
              <a:ext uri="{FF2B5EF4-FFF2-40B4-BE49-F238E27FC236}">
                <a16:creationId xmlns:a16="http://schemas.microsoft.com/office/drawing/2014/main" id="{8CA9D7AF-BED1-1F17-67EA-7D1EE2055E5B}"/>
              </a:ext>
            </a:extLst>
          </p:cNvPr>
          <p:cNvSpPr>
            <a:spLocks noGrp="1"/>
          </p:cNvSpPr>
          <p:nvPr>
            <p:ph type="title"/>
          </p:nvPr>
        </p:nvSpPr>
        <p:spPr>
          <a:xfrm>
            <a:off x="479425" y="604203"/>
            <a:ext cx="3508376" cy="1334325"/>
          </a:xfrm>
        </p:spPr>
        <p:txBody>
          <a:bodyPr/>
          <a:lstStyle/>
          <a:p>
            <a:r>
              <a:rPr lang="en-US"/>
              <a:t>Click to edit Master title style</a:t>
            </a:r>
            <a:endParaRPr lang="en-AU"/>
          </a:p>
        </p:txBody>
      </p:sp>
      <p:sp>
        <p:nvSpPr>
          <p:cNvPr id="16" name="Text Placeholder 5">
            <a:extLst>
              <a:ext uri="{FF2B5EF4-FFF2-40B4-BE49-F238E27FC236}">
                <a16:creationId xmlns:a16="http://schemas.microsoft.com/office/drawing/2014/main" id="{B899DA9C-C895-2883-3970-7ADE9C7007A5}"/>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2" name="Picture Placeholder 5">
            <a:extLst>
              <a:ext uri="{FF2B5EF4-FFF2-40B4-BE49-F238E27FC236}">
                <a16:creationId xmlns:a16="http://schemas.microsoft.com/office/drawing/2014/main" id="{6F5C4178-6390-BD5C-94DF-8849972139D9}"/>
              </a:ext>
            </a:extLst>
          </p:cNvPr>
          <p:cNvSpPr>
            <a:spLocks noGrp="1"/>
          </p:cNvSpPr>
          <p:nvPr>
            <p:ph type="pic" sz="quarter" idx="37"/>
          </p:nvPr>
        </p:nvSpPr>
        <p:spPr>
          <a:xfrm>
            <a:off x="479425" y="2363788"/>
            <a:ext cx="522000" cy="522000"/>
          </a:xfrm>
        </p:spPr>
        <p:txBody>
          <a:bodyPr/>
          <a:lstStyle>
            <a:lvl1pPr>
              <a:defRPr sz="800"/>
            </a:lvl1pPr>
          </a:lstStyle>
          <a:p>
            <a:r>
              <a:rPr lang="en-US"/>
              <a:t>Click icon to add picture</a:t>
            </a:r>
            <a:endParaRPr lang="en-GB"/>
          </a:p>
        </p:txBody>
      </p:sp>
      <p:sp>
        <p:nvSpPr>
          <p:cNvPr id="4" name="Picture Placeholder 5">
            <a:extLst>
              <a:ext uri="{FF2B5EF4-FFF2-40B4-BE49-F238E27FC236}">
                <a16:creationId xmlns:a16="http://schemas.microsoft.com/office/drawing/2014/main" id="{E126E31C-0FDE-E210-6967-2FF8B9D913AA}"/>
              </a:ext>
            </a:extLst>
          </p:cNvPr>
          <p:cNvSpPr>
            <a:spLocks noGrp="1"/>
          </p:cNvSpPr>
          <p:nvPr>
            <p:ph type="pic" sz="quarter" idx="38"/>
          </p:nvPr>
        </p:nvSpPr>
        <p:spPr>
          <a:xfrm>
            <a:off x="479425" y="3690461"/>
            <a:ext cx="522000" cy="522000"/>
          </a:xfrm>
        </p:spPr>
        <p:txBody>
          <a:bodyPr/>
          <a:lstStyle>
            <a:lvl1pPr>
              <a:defRPr sz="800"/>
            </a:lvl1pPr>
          </a:lstStyle>
          <a:p>
            <a:r>
              <a:rPr lang="en-US"/>
              <a:t>Click icon to add picture</a:t>
            </a:r>
            <a:endParaRPr lang="en-GB"/>
          </a:p>
        </p:txBody>
      </p:sp>
      <p:sp>
        <p:nvSpPr>
          <p:cNvPr id="6" name="Picture Placeholder 5">
            <a:extLst>
              <a:ext uri="{FF2B5EF4-FFF2-40B4-BE49-F238E27FC236}">
                <a16:creationId xmlns:a16="http://schemas.microsoft.com/office/drawing/2014/main" id="{169263BF-D640-D210-382B-B8F681F60A67}"/>
              </a:ext>
            </a:extLst>
          </p:cNvPr>
          <p:cNvSpPr>
            <a:spLocks noGrp="1"/>
          </p:cNvSpPr>
          <p:nvPr>
            <p:ph type="pic" sz="quarter" idx="39"/>
          </p:nvPr>
        </p:nvSpPr>
        <p:spPr>
          <a:xfrm>
            <a:off x="479425" y="5017135"/>
            <a:ext cx="522000" cy="522000"/>
          </a:xfrm>
        </p:spPr>
        <p:txBody>
          <a:bodyPr/>
          <a:lstStyle>
            <a:lvl1pPr>
              <a:defRPr sz="800"/>
            </a:lvl1pPr>
          </a:lstStyle>
          <a:p>
            <a:r>
              <a:rPr lang="en-US"/>
              <a:t>Click icon to add picture</a:t>
            </a:r>
            <a:endParaRPr lang="en-GB"/>
          </a:p>
        </p:txBody>
      </p:sp>
      <p:sp>
        <p:nvSpPr>
          <p:cNvPr id="7" name="Footer Placeholder 4">
            <a:extLst>
              <a:ext uri="{FF2B5EF4-FFF2-40B4-BE49-F238E27FC236}">
                <a16:creationId xmlns:a16="http://schemas.microsoft.com/office/drawing/2014/main" id="{0143EC42-F0BC-E053-9D6C-52F3EAD5C9AD}"/>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114071431"/>
      </p:ext>
    </p:extLst>
  </p:cSld>
  <p:clrMapOvr>
    <a:masterClrMapping/>
  </p:clrMapOvr>
  <p:extLst>
    <p:ext uri="{DCECCB84-F9BA-43D5-87BE-67443E8EF086}">
      <p15:sldGuideLst xmlns:p15="http://schemas.microsoft.com/office/powerpoint/2012/main">
        <p15:guide id="3" pos="2512" userDrawn="1">
          <p15:clr>
            <a:srgbClr val="FBAE40"/>
          </p15:clr>
        </p15:guide>
        <p15:guide id="4" pos="2816"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4 image + 3 stats_gradi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1E1202A6-2F10-3353-8366-E7534D814B1C}"/>
              </a:ext>
            </a:extLst>
          </p:cNvPr>
          <p:cNvSpPr>
            <a:spLocks noGrp="1"/>
          </p:cNvSpPr>
          <p:nvPr>
            <p:ph idx="15" hasCustomPrompt="1"/>
          </p:nvPr>
        </p:nvSpPr>
        <p:spPr>
          <a:xfrm>
            <a:off x="0" y="138818"/>
            <a:ext cx="4485640" cy="6719182"/>
          </a:xfrm>
          <a:blipFill dpi="0" rotWithShape="1">
            <a:blip r:embed="rId2">
              <a:alphaModFix amt="50000"/>
            </a:blip>
            <a:srcRect/>
            <a:stretch>
              <a:fillRect l="-86043" r="-86043"/>
            </a:stretch>
          </a:blipFill>
        </p:spPr>
        <p:txBody>
          <a:bodyPr lIns="180000" tIns="180000" rIns="180000" bIns="180000"/>
          <a:lstStyle>
            <a:lvl1pPr>
              <a:spcAft>
                <a:spcPts val="1800"/>
              </a:spcAft>
              <a:defRPr>
                <a:solidFill>
                  <a:schemeClr val="tx1"/>
                </a:solidFill>
              </a:defRPr>
            </a:lvl1pPr>
            <a:lvl2pPr marL="171450" indent="-171450">
              <a:spcAft>
                <a:spcPts val="0"/>
              </a:spcAft>
              <a:buClrTx/>
              <a:buFont typeface="Arial" panose="020B0604020202020204" pitchFamily="34" charset="0"/>
              <a:buChar char="›"/>
              <a:defRPr sz="1400"/>
            </a:lvl2pPr>
            <a:lvl3pPr marL="358775" indent="-179388">
              <a:spcBef>
                <a:spcPts val="600"/>
              </a:spcBef>
              <a:spcAft>
                <a:spcPts val="600"/>
              </a:spcAft>
              <a:buFont typeface="Arial" panose="020B0604020202020204" pitchFamily="34" charset="0"/>
              <a:buChar char="•"/>
              <a:tabLst>
                <a:tab pos="179388" algn="l"/>
              </a:tabLst>
              <a:defRPr/>
            </a:lvl3pPr>
            <a:lvl4pPr marL="0" indent="0">
              <a:spcBef>
                <a:spcPts val="1800"/>
              </a:spcBef>
              <a:buNone/>
              <a:defRPr sz="1200"/>
            </a:lvl4pPr>
          </a:lstStyle>
          <a:p>
            <a:pPr lvl="0"/>
            <a:r>
              <a:rPr lang="en-US"/>
              <a:t> </a:t>
            </a:r>
            <a:endParaRPr lang="en-AU"/>
          </a:p>
        </p:txBody>
      </p:sp>
      <p:sp>
        <p:nvSpPr>
          <p:cNvPr id="8" name="Text Placeholder 19">
            <a:extLst>
              <a:ext uri="{FF2B5EF4-FFF2-40B4-BE49-F238E27FC236}">
                <a16:creationId xmlns:a16="http://schemas.microsoft.com/office/drawing/2014/main" id="{9DB474E9-4FAC-7BAE-4918-F65476ABD12C}"/>
              </a:ext>
            </a:extLst>
          </p:cNvPr>
          <p:cNvSpPr>
            <a:spLocks noGrp="1"/>
          </p:cNvSpPr>
          <p:nvPr>
            <p:ph type="body" sz="quarter" idx="25" hasCustomPrompt="1"/>
          </p:nvPr>
        </p:nvSpPr>
        <p:spPr>
          <a:xfrm>
            <a:off x="1132841" y="2363788"/>
            <a:ext cx="2854960" cy="875665"/>
          </a:xfrm>
        </p:spPr>
        <p:txBody>
          <a:bodyPr/>
          <a:lstStyle>
            <a:lvl1pPr>
              <a:lnSpc>
                <a:spcPct val="90000"/>
              </a:lnSpc>
              <a:spcBef>
                <a:spcPts val="0"/>
              </a:spcBef>
              <a:spcAft>
                <a:spcPts val="0"/>
              </a:spcAft>
              <a:defRPr lang="en-US" sz="4400" b="1"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0" name="Text Placeholder 19">
            <a:extLst>
              <a:ext uri="{FF2B5EF4-FFF2-40B4-BE49-F238E27FC236}">
                <a16:creationId xmlns:a16="http://schemas.microsoft.com/office/drawing/2014/main" id="{62B4B654-D4AC-315C-743D-4D2A637BEA83}"/>
              </a:ext>
            </a:extLst>
          </p:cNvPr>
          <p:cNvSpPr>
            <a:spLocks noGrp="1"/>
          </p:cNvSpPr>
          <p:nvPr>
            <p:ph type="body" sz="quarter" idx="29" hasCustomPrompt="1"/>
          </p:nvPr>
        </p:nvSpPr>
        <p:spPr>
          <a:xfrm>
            <a:off x="1132841" y="3690461"/>
            <a:ext cx="2854960" cy="875665"/>
          </a:xfrm>
        </p:spPr>
        <p:txBody>
          <a:bodyPr/>
          <a:lstStyle>
            <a:lvl1pPr>
              <a:lnSpc>
                <a:spcPct val="90000"/>
              </a:lnSpc>
              <a:spcBef>
                <a:spcPts val="0"/>
              </a:spcBef>
              <a:spcAft>
                <a:spcPts val="0"/>
              </a:spcAft>
              <a:defRPr lang="en-US" sz="4400" b="1"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12" name="Text Placeholder 19">
            <a:extLst>
              <a:ext uri="{FF2B5EF4-FFF2-40B4-BE49-F238E27FC236}">
                <a16:creationId xmlns:a16="http://schemas.microsoft.com/office/drawing/2014/main" id="{ED2F1526-4AE4-BD31-908A-FD02FAA97DF9}"/>
              </a:ext>
            </a:extLst>
          </p:cNvPr>
          <p:cNvSpPr>
            <a:spLocks noGrp="1"/>
          </p:cNvSpPr>
          <p:nvPr>
            <p:ph type="body" sz="quarter" idx="31" hasCustomPrompt="1"/>
          </p:nvPr>
        </p:nvSpPr>
        <p:spPr>
          <a:xfrm>
            <a:off x="1132841" y="5017135"/>
            <a:ext cx="2854960" cy="875665"/>
          </a:xfrm>
        </p:spPr>
        <p:txBody>
          <a:bodyPr/>
          <a:lstStyle>
            <a:lvl1pPr>
              <a:lnSpc>
                <a:spcPct val="90000"/>
              </a:lnSpc>
              <a:spcBef>
                <a:spcPts val="0"/>
              </a:spcBef>
              <a:spcAft>
                <a:spcPts val="0"/>
              </a:spcAft>
              <a:defRPr lang="en-US" sz="4400" b="1" kern="1200" dirty="0" smtClean="0">
                <a:solidFill>
                  <a:schemeClr val="accent1"/>
                </a:solidFill>
                <a:latin typeface="+mn-lt"/>
                <a:ea typeface="+mn-ea"/>
                <a:cs typeface="+mn-cs"/>
              </a:defRPr>
            </a:lvl1pPr>
            <a:lvl2pPr marL="0" indent="0">
              <a:lnSpc>
                <a:spcPct val="90000"/>
              </a:lnSpc>
              <a:spcBef>
                <a:spcPts val="0"/>
              </a:spcBef>
              <a:spcAft>
                <a:spcPts val="0"/>
              </a:spcAft>
              <a:buNone/>
              <a:defRPr lang="en-US" sz="1600" kern="1200" dirty="0" smtClean="0">
                <a:solidFill>
                  <a:schemeClr val="tx1"/>
                </a:solidFill>
                <a:latin typeface="+mn-lt"/>
                <a:ea typeface="+mn-ea"/>
                <a:cs typeface="+mn-cs"/>
              </a:defRPr>
            </a:lvl2pPr>
          </a:lstStyle>
          <a:p>
            <a:pPr lvl="0"/>
            <a:r>
              <a:rPr lang="en-US"/>
              <a:t>##</a:t>
            </a:r>
          </a:p>
          <a:p>
            <a:pPr lvl="1"/>
            <a:r>
              <a:rPr lang="en-US"/>
              <a:t>Second level</a:t>
            </a:r>
            <a:endParaRPr lang="en-AU"/>
          </a:p>
        </p:txBody>
      </p:sp>
      <p:sp>
        <p:nvSpPr>
          <p:cNvPr id="3" name="Slide Number Placeholder 2">
            <a:extLst>
              <a:ext uri="{FF2B5EF4-FFF2-40B4-BE49-F238E27FC236}">
                <a16:creationId xmlns:a16="http://schemas.microsoft.com/office/drawing/2014/main" id="{E2AA115E-D9AA-0A7E-0084-122EB5DFD13F}"/>
              </a:ext>
            </a:extLst>
          </p:cNvPr>
          <p:cNvSpPr>
            <a:spLocks noGrp="1"/>
          </p:cNvSpPr>
          <p:nvPr>
            <p:ph type="sldNum" sz="quarter" idx="48"/>
          </p:nvPr>
        </p:nvSpPr>
        <p:spPr/>
        <p:txBody>
          <a:bodyPr/>
          <a:lstStyle/>
          <a:p>
            <a:fld id="{E4C2AD82-1025-4508-97C1-6F7EE5C92734}" type="slidenum">
              <a:rPr lang="en-AU" smtClean="0"/>
              <a:pPr/>
              <a:t>‹#›</a:t>
            </a:fld>
            <a:endParaRPr lang="en-AU"/>
          </a:p>
        </p:txBody>
      </p:sp>
      <p:sp>
        <p:nvSpPr>
          <p:cNvPr id="14" name="Picture Placeholder 10">
            <a:extLst>
              <a:ext uri="{FF2B5EF4-FFF2-40B4-BE49-F238E27FC236}">
                <a16:creationId xmlns:a16="http://schemas.microsoft.com/office/drawing/2014/main" id="{C9D67DE0-F509-59F0-9280-9F130E5DB85B}"/>
              </a:ext>
            </a:extLst>
          </p:cNvPr>
          <p:cNvSpPr>
            <a:spLocks noGrp="1"/>
          </p:cNvSpPr>
          <p:nvPr>
            <p:ph type="pic" sz="quarter" idx="34" hasCustomPrompt="1"/>
          </p:nvPr>
        </p:nvSpPr>
        <p:spPr>
          <a:xfrm>
            <a:off x="4470400" y="138818"/>
            <a:ext cx="7721601" cy="6730646"/>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Title 3">
            <a:extLst>
              <a:ext uri="{FF2B5EF4-FFF2-40B4-BE49-F238E27FC236}">
                <a16:creationId xmlns:a16="http://schemas.microsoft.com/office/drawing/2014/main" id="{A4637ED3-72A1-8CC3-40E5-B52EB84D6856}"/>
              </a:ext>
            </a:extLst>
          </p:cNvPr>
          <p:cNvSpPr>
            <a:spLocks noGrp="1"/>
          </p:cNvSpPr>
          <p:nvPr>
            <p:ph type="title"/>
          </p:nvPr>
        </p:nvSpPr>
        <p:spPr>
          <a:xfrm>
            <a:off x="479425" y="604203"/>
            <a:ext cx="3503295" cy="1448117"/>
          </a:xfrm>
        </p:spPr>
        <p:txBody>
          <a:bodyPr/>
          <a:lstStyle/>
          <a:p>
            <a:r>
              <a:rPr lang="en-US"/>
              <a:t>Click to edit Master title style</a:t>
            </a:r>
            <a:endParaRPr lang="en-AU"/>
          </a:p>
        </p:txBody>
      </p:sp>
      <p:sp>
        <p:nvSpPr>
          <p:cNvPr id="13" name="Text Placeholder 5">
            <a:extLst>
              <a:ext uri="{FF2B5EF4-FFF2-40B4-BE49-F238E27FC236}">
                <a16:creationId xmlns:a16="http://schemas.microsoft.com/office/drawing/2014/main" id="{D1ABE5DC-D0E6-F473-5E20-F4477137743A}"/>
              </a:ext>
            </a:extLst>
          </p:cNvPr>
          <p:cNvSpPr>
            <a:spLocks noGrp="1" noChangeAspect="1"/>
          </p:cNvSpPr>
          <p:nvPr>
            <p:ph type="body" sz="quarter" idx="35" hasCustomPrompt="1"/>
          </p:nvPr>
        </p:nvSpPr>
        <p:spPr>
          <a:xfrm>
            <a:off x="10904437" y="6170930"/>
            <a:ext cx="825600" cy="288000"/>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AU"/>
          </a:p>
        </p:txBody>
      </p:sp>
      <p:sp>
        <p:nvSpPr>
          <p:cNvPr id="6" name="Picture Placeholder 5">
            <a:extLst>
              <a:ext uri="{FF2B5EF4-FFF2-40B4-BE49-F238E27FC236}">
                <a16:creationId xmlns:a16="http://schemas.microsoft.com/office/drawing/2014/main" id="{3BFAC6EC-47FF-4B90-C39C-403F97006EB5}"/>
              </a:ext>
            </a:extLst>
          </p:cNvPr>
          <p:cNvSpPr>
            <a:spLocks noGrp="1"/>
          </p:cNvSpPr>
          <p:nvPr>
            <p:ph type="pic" sz="quarter" idx="37"/>
          </p:nvPr>
        </p:nvSpPr>
        <p:spPr>
          <a:xfrm>
            <a:off x="479425" y="2363788"/>
            <a:ext cx="522000" cy="522000"/>
          </a:xfrm>
        </p:spPr>
        <p:txBody>
          <a:bodyPr/>
          <a:lstStyle>
            <a:lvl1pPr>
              <a:defRPr sz="800"/>
            </a:lvl1pPr>
          </a:lstStyle>
          <a:p>
            <a:r>
              <a:rPr lang="en-US"/>
              <a:t>Click icon to add picture</a:t>
            </a:r>
            <a:endParaRPr lang="en-GB"/>
          </a:p>
        </p:txBody>
      </p:sp>
      <p:sp>
        <p:nvSpPr>
          <p:cNvPr id="15" name="Picture Placeholder 5">
            <a:extLst>
              <a:ext uri="{FF2B5EF4-FFF2-40B4-BE49-F238E27FC236}">
                <a16:creationId xmlns:a16="http://schemas.microsoft.com/office/drawing/2014/main" id="{B06D4D86-13B1-A3A0-D0DC-0D6D5D67C5C3}"/>
              </a:ext>
            </a:extLst>
          </p:cNvPr>
          <p:cNvSpPr>
            <a:spLocks noGrp="1"/>
          </p:cNvSpPr>
          <p:nvPr>
            <p:ph type="pic" sz="quarter" idx="38"/>
          </p:nvPr>
        </p:nvSpPr>
        <p:spPr>
          <a:xfrm>
            <a:off x="479425" y="3690461"/>
            <a:ext cx="522000" cy="522000"/>
          </a:xfrm>
        </p:spPr>
        <p:txBody>
          <a:bodyPr/>
          <a:lstStyle>
            <a:lvl1pPr>
              <a:defRPr sz="800"/>
            </a:lvl1pPr>
          </a:lstStyle>
          <a:p>
            <a:r>
              <a:rPr lang="en-US"/>
              <a:t>Click icon to add picture</a:t>
            </a:r>
            <a:endParaRPr lang="en-GB"/>
          </a:p>
        </p:txBody>
      </p:sp>
      <p:sp>
        <p:nvSpPr>
          <p:cNvPr id="16" name="Picture Placeholder 5">
            <a:extLst>
              <a:ext uri="{FF2B5EF4-FFF2-40B4-BE49-F238E27FC236}">
                <a16:creationId xmlns:a16="http://schemas.microsoft.com/office/drawing/2014/main" id="{955EC059-6E39-82B1-38DC-46380B9BE064}"/>
              </a:ext>
            </a:extLst>
          </p:cNvPr>
          <p:cNvSpPr>
            <a:spLocks noGrp="1"/>
          </p:cNvSpPr>
          <p:nvPr>
            <p:ph type="pic" sz="quarter" idx="39"/>
          </p:nvPr>
        </p:nvSpPr>
        <p:spPr>
          <a:xfrm>
            <a:off x="479425" y="5017135"/>
            <a:ext cx="522000" cy="522000"/>
          </a:xfrm>
        </p:spPr>
        <p:txBody>
          <a:bodyPr/>
          <a:lstStyle>
            <a:lvl1pPr>
              <a:defRPr sz="800"/>
            </a:lvl1pPr>
          </a:lstStyle>
          <a:p>
            <a:r>
              <a:rPr lang="en-US"/>
              <a:t>Click icon to add picture</a:t>
            </a:r>
            <a:endParaRPr lang="en-GB"/>
          </a:p>
        </p:txBody>
      </p:sp>
      <p:sp>
        <p:nvSpPr>
          <p:cNvPr id="7" name="Footer Placeholder 4">
            <a:extLst>
              <a:ext uri="{FF2B5EF4-FFF2-40B4-BE49-F238E27FC236}">
                <a16:creationId xmlns:a16="http://schemas.microsoft.com/office/drawing/2014/main" id="{CB262EE5-8494-CF5E-F32F-5096E360B1D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559121578"/>
      </p:ext>
    </p:extLst>
  </p:cSld>
  <p:clrMapOvr>
    <a:masterClrMapping/>
  </p:clrMapOvr>
  <p:extLst>
    <p:ext uri="{DCECCB84-F9BA-43D5-87BE-67443E8EF086}">
      <p15:sldGuideLst xmlns:p15="http://schemas.microsoft.com/office/powerpoint/2012/main">
        <p15:guide id="3" pos="2512" userDrawn="1">
          <p15:clr>
            <a:srgbClr val="FBAE40"/>
          </p15:clr>
        </p15:guide>
        <p15:guide id="4" pos="281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2/4 image + 3 stats_gradient">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7B9CDAF9-C05B-724D-898B-2A6950558279}"/>
              </a:ext>
            </a:extLst>
          </p:cNvPr>
          <p:cNvSpPr>
            <a:spLocks noGrp="1"/>
          </p:cNvSpPr>
          <p:nvPr>
            <p:ph idx="15" hasCustomPrompt="1"/>
          </p:nvPr>
        </p:nvSpPr>
        <p:spPr>
          <a:xfrm>
            <a:off x="0" y="138818"/>
            <a:ext cx="4485640" cy="6719182"/>
          </a:xfrm>
          <a:blipFill dpi="0" rotWithShape="1">
            <a:blip r:embed="rId2">
              <a:alphaModFix amt="50000"/>
            </a:blip>
            <a:srcRect/>
            <a:stretch>
              <a:fillRect l="-86043" r="-86043"/>
            </a:stretch>
          </a:blipFill>
        </p:spPr>
        <p:txBody>
          <a:bodyPr lIns="180000" tIns="180000" rIns="180000" bIns="180000"/>
          <a:lstStyle>
            <a:lvl1pPr>
              <a:spcAft>
                <a:spcPts val="1800"/>
              </a:spcAft>
              <a:defRPr>
                <a:solidFill>
                  <a:schemeClr val="tx1"/>
                </a:solidFill>
              </a:defRPr>
            </a:lvl1pPr>
            <a:lvl2pPr marL="171450" indent="-171450">
              <a:spcAft>
                <a:spcPts val="0"/>
              </a:spcAft>
              <a:buClrTx/>
              <a:buFont typeface="Arial" panose="020B0604020202020204" pitchFamily="34" charset="0"/>
              <a:buChar char="›"/>
              <a:defRPr sz="1400"/>
            </a:lvl2pPr>
            <a:lvl3pPr marL="358775" indent="-179388">
              <a:spcBef>
                <a:spcPts val="600"/>
              </a:spcBef>
              <a:spcAft>
                <a:spcPts val="600"/>
              </a:spcAft>
              <a:buFont typeface="Arial" panose="020B0604020202020204" pitchFamily="34" charset="0"/>
              <a:buChar char="•"/>
              <a:tabLst>
                <a:tab pos="179388" algn="l"/>
              </a:tabLst>
              <a:defRPr/>
            </a:lvl3pPr>
            <a:lvl4pPr marL="0" indent="0">
              <a:spcBef>
                <a:spcPts val="1800"/>
              </a:spcBef>
              <a:buNone/>
              <a:defRPr sz="1200"/>
            </a:lvl4pPr>
          </a:lstStyle>
          <a:p>
            <a:pPr lvl="0"/>
            <a:r>
              <a:rPr lang="en-US"/>
              <a:t> </a:t>
            </a:r>
            <a:endParaRPr lang="en-AU"/>
          </a:p>
        </p:txBody>
      </p:sp>
      <p:sp>
        <p:nvSpPr>
          <p:cNvPr id="3" name="Slide Number Placeholder 2">
            <a:extLst>
              <a:ext uri="{FF2B5EF4-FFF2-40B4-BE49-F238E27FC236}">
                <a16:creationId xmlns:a16="http://schemas.microsoft.com/office/drawing/2014/main" id="{E2AA115E-D9AA-0A7E-0084-122EB5DFD13F}"/>
              </a:ext>
            </a:extLst>
          </p:cNvPr>
          <p:cNvSpPr>
            <a:spLocks noGrp="1"/>
          </p:cNvSpPr>
          <p:nvPr>
            <p:ph type="sldNum" sz="quarter" idx="48"/>
          </p:nvPr>
        </p:nvSpPr>
        <p:spPr/>
        <p:txBody>
          <a:bodyPr/>
          <a:lstStyle/>
          <a:p>
            <a:fld id="{E4C2AD82-1025-4508-97C1-6F7EE5C92734}" type="slidenum">
              <a:rPr lang="en-AU" smtClean="0"/>
              <a:pPr/>
              <a:t>‹#›</a:t>
            </a:fld>
            <a:endParaRPr lang="en-AU"/>
          </a:p>
        </p:txBody>
      </p:sp>
      <p:sp>
        <p:nvSpPr>
          <p:cNvPr id="4" name="Title 3">
            <a:extLst>
              <a:ext uri="{FF2B5EF4-FFF2-40B4-BE49-F238E27FC236}">
                <a16:creationId xmlns:a16="http://schemas.microsoft.com/office/drawing/2014/main" id="{A4637ED3-72A1-8CC3-40E5-B52EB84D6856}"/>
              </a:ext>
            </a:extLst>
          </p:cNvPr>
          <p:cNvSpPr>
            <a:spLocks noGrp="1"/>
          </p:cNvSpPr>
          <p:nvPr>
            <p:ph type="title"/>
          </p:nvPr>
        </p:nvSpPr>
        <p:spPr>
          <a:xfrm>
            <a:off x="479425" y="604203"/>
            <a:ext cx="3503295" cy="1448117"/>
          </a:xfrm>
        </p:spPr>
        <p:txBody>
          <a:bodyPr/>
          <a:lstStyle/>
          <a:p>
            <a:r>
              <a:rPr lang="en-US"/>
              <a:t>Click to edit Master title style</a:t>
            </a:r>
            <a:endParaRPr lang="en-AU"/>
          </a:p>
        </p:txBody>
      </p:sp>
      <p:sp>
        <p:nvSpPr>
          <p:cNvPr id="15" name="Content Placeholder 2">
            <a:extLst>
              <a:ext uri="{FF2B5EF4-FFF2-40B4-BE49-F238E27FC236}">
                <a16:creationId xmlns:a16="http://schemas.microsoft.com/office/drawing/2014/main" id="{0B43DCFB-7410-5D45-8373-C698A009C945}"/>
              </a:ext>
            </a:extLst>
          </p:cNvPr>
          <p:cNvSpPr>
            <a:spLocks noGrp="1"/>
          </p:cNvSpPr>
          <p:nvPr>
            <p:ph idx="1"/>
          </p:nvPr>
        </p:nvSpPr>
        <p:spPr>
          <a:xfrm>
            <a:off x="479426" y="2097088"/>
            <a:ext cx="3492412" cy="3960812"/>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0" name="Text Placeholder 10">
            <a:extLst>
              <a:ext uri="{FF2B5EF4-FFF2-40B4-BE49-F238E27FC236}">
                <a16:creationId xmlns:a16="http://schemas.microsoft.com/office/drawing/2014/main" id="{89959349-DE05-1747-8537-0F3D77396BF3}"/>
              </a:ext>
            </a:extLst>
          </p:cNvPr>
          <p:cNvSpPr>
            <a:spLocks noGrp="1"/>
          </p:cNvSpPr>
          <p:nvPr>
            <p:ph type="body" sz="quarter" idx="13"/>
          </p:nvPr>
        </p:nvSpPr>
        <p:spPr>
          <a:xfrm>
            <a:off x="5703294" y="758703"/>
            <a:ext cx="5985123" cy="1008000"/>
          </a:xfrm>
          <a:noFill/>
          <a:ln>
            <a:noFill/>
          </a:ln>
        </p:spPr>
        <p:txBody>
          <a:bodyPr lIns="252000" anchor="ctr" anchorCtr="0"/>
          <a:lstStyle>
            <a:lvl1pPr>
              <a:spcAft>
                <a:spcPts val="0"/>
              </a:spcAft>
              <a:defRPr sz="1400">
                <a:solidFill>
                  <a:schemeClr val="accent1"/>
                </a:solidFill>
              </a:defRPr>
            </a:lvl1pPr>
            <a:lvl2pPr marL="0" indent="0">
              <a:spcAft>
                <a:spcPts val="0"/>
              </a:spcAft>
              <a:buNone/>
              <a:defRPr sz="1400"/>
            </a:lvl2pPr>
          </a:lstStyle>
          <a:p>
            <a:pPr lvl="0"/>
            <a:r>
              <a:rPr lang="en-US"/>
              <a:t>Click to edit Master text styles</a:t>
            </a:r>
          </a:p>
          <a:p>
            <a:pPr lvl="1"/>
            <a:r>
              <a:rPr lang="en-US"/>
              <a:t>Second level</a:t>
            </a:r>
          </a:p>
        </p:txBody>
      </p:sp>
      <p:sp>
        <p:nvSpPr>
          <p:cNvPr id="21" name="Text Placeholder 10">
            <a:extLst>
              <a:ext uri="{FF2B5EF4-FFF2-40B4-BE49-F238E27FC236}">
                <a16:creationId xmlns:a16="http://schemas.microsoft.com/office/drawing/2014/main" id="{28C3907E-9AEB-DB4C-9A93-AEAC0C4B5F6D}"/>
              </a:ext>
            </a:extLst>
          </p:cNvPr>
          <p:cNvSpPr>
            <a:spLocks noGrp="1"/>
          </p:cNvSpPr>
          <p:nvPr>
            <p:ph type="body" sz="quarter" idx="16"/>
          </p:nvPr>
        </p:nvSpPr>
        <p:spPr>
          <a:xfrm>
            <a:off x="5703294" y="2127149"/>
            <a:ext cx="5985123" cy="1008000"/>
          </a:xfrm>
          <a:noFill/>
          <a:ln>
            <a:noFill/>
          </a:ln>
        </p:spPr>
        <p:txBody>
          <a:bodyPr lIns="252000" anchor="ctr" anchorCtr="0"/>
          <a:lstStyle>
            <a:lvl1pPr>
              <a:spcAft>
                <a:spcPts val="0"/>
              </a:spcAft>
              <a:defRPr sz="1400">
                <a:solidFill>
                  <a:schemeClr val="accent1"/>
                </a:solidFill>
              </a:defRPr>
            </a:lvl1pPr>
            <a:lvl2pPr marL="0" indent="0">
              <a:spcAft>
                <a:spcPts val="0"/>
              </a:spcAft>
              <a:buNone/>
              <a:defRPr sz="1400"/>
            </a:lvl2pPr>
          </a:lstStyle>
          <a:p>
            <a:pPr lvl="0"/>
            <a:r>
              <a:rPr lang="en-US"/>
              <a:t>Click to edit Master text styles</a:t>
            </a:r>
          </a:p>
          <a:p>
            <a:pPr lvl="1"/>
            <a:r>
              <a:rPr lang="en-US"/>
              <a:t>Second level</a:t>
            </a:r>
          </a:p>
        </p:txBody>
      </p:sp>
      <p:sp>
        <p:nvSpPr>
          <p:cNvPr id="22" name="Text Placeholder 10">
            <a:extLst>
              <a:ext uri="{FF2B5EF4-FFF2-40B4-BE49-F238E27FC236}">
                <a16:creationId xmlns:a16="http://schemas.microsoft.com/office/drawing/2014/main" id="{870AAB8D-F760-D54B-A6B0-7985A362E655}"/>
              </a:ext>
            </a:extLst>
          </p:cNvPr>
          <p:cNvSpPr>
            <a:spLocks noGrp="1"/>
          </p:cNvSpPr>
          <p:nvPr>
            <p:ph type="body" sz="quarter" idx="19"/>
          </p:nvPr>
        </p:nvSpPr>
        <p:spPr>
          <a:xfrm>
            <a:off x="5703294" y="3495595"/>
            <a:ext cx="5985123" cy="1008000"/>
          </a:xfrm>
          <a:noFill/>
          <a:ln>
            <a:noFill/>
          </a:ln>
        </p:spPr>
        <p:txBody>
          <a:bodyPr lIns="252000" anchor="ctr" anchorCtr="0"/>
          <a:lstStyle>
            <a:lvl1pPr>
              <a:spcAft>
                <a:spcPts val="0"/>
              </a:spcAft>
              <a:defRPr sz="1400">
                <a:solidFill>
                  <a:schemeClr val="accent1"/>
                </a:solidFill>
              </a:defRPr>
            </a:lvl1pPr>
            <a:lvl2pPr marL="0" indent="0">
              <a:spcAft>
                <a:spcPts val="0"/>
              </a:spcAft>
              <a:buNone/>
              <a:defRPr sz="1400"/>
            </a:lvl2pPr>
          </a:lstStyle>
          <a:p>
            <a:pPr lvl="0"/>
            <a:r>
              <a:rPr lang="en-US"/>
              <a:t>Click to edit Master text styles</a:t>
            </a:r>
          </a:p>
          <a:p>
            <a:pPr lvl="1"/>
            <a:r>
              <a:rPr lang="en-US"/>
              <a:t>Second level</a:t>
            </a:r>
          </a:p>
        </p:txBody>
      </p:sp>
      <p:sp>
        <p:nvSpPr>
          <p:cNvPr id="23" name="Text Placeholder 10">
            <a:extLst>
              <a:ext uri="{FF2B5EF4-FFF2-40B4-BE49-F238E27FC236}">
                <a16:creationId xmlns:a16="http://schemas.microsoft.com/office/drawing/2014/main" id="{55364C55-C3AA-044A-AC78-EEC4123D949C}"/>
              </a:ext>
            </a:extLst>
          </p:cNvPr>
          <p:cNvSpPr>
            <a:spLocks noGrp="1"/>
          </p:cNvSpPr>
          <p:nvPr>
            <p:ph type="body" sz="quarter" idx="22"/>
          </p:nvPr>
        </p:nvSpPr>
        <p:spPr>
          <a:xfrm>
            <a:off x="5703294" y="4864040"/>
            <a:ext cx="5985123" cy="1008000"/>
          </a:xfrm>
          <a:noFill/>
          <a:ln>
            <a:noFill/>
          </a:ln>
        </p:spPr>
        <p:txBody>
          <a:bodyPr lIns="252000" anchor="ctr" anchorCtr="0"/>
          <a:lstStyle>
            <a:lvl1pPr>
              <a:spcAft>
                <a:spcPts val="0"/>
              </a:spcAft>
              <a:defRPr sz="1400">
                <a:solidFill>
                  <a:schemeClr val="accent1"/>
                </a:solidFill>
              </a:defRPr>
            </a:lvl1pPr>
            <a:lvl2pPr marL="0" indent="0">
              <a:spcAft>
                <a:spcPts val="0"/>
              </a:spcAft>
              <a:buNone/>
              <a:defRPr sz="1400"/>
            </a:lvl2pPr>
          </a:lstStyle>
          <a:p>
            <a:pPr lvl="0"/>
            <a:r>
              <a:rPr lang="en-US"/>
              <a:t>Click to edit Master text styles</a:t>
            </a:r>
          </a:p>
          <a:p>
            <a:pPr lvl="1"/>
            <a:r>
              <a:rPr lang="en-US"/>
              <a:t>Second level</a:t>
            </a:r>
          </a:p>
        </p:txBody>
      </p:sp>
      <p:sp>
        <p:nvSpPr>
          <p:cNvPr id="2" name="Picture Placeholder 5">
            <a:extLst>
              <a:ext uri="{FF2B5EF4-FFF2-40B4-BE49-F238E27FC236}">
                <a16:creationId xmlns:a16="http://schemas.microsoft.com/office/drawing/2014/main" id="{EAFD9C50-5750-4AA2-50DE-E256E7A1F870}"/>
              </a:ext>
            </a:extLst>
          </p:cNvPr>
          <p:cNvSpPr>
            <a:spLocks noGrp="1"/>
          </p:cNvSpPr>
          <p:nvPr>
            <p:ph type="pic" sz="quarter" idx="37"/>
          </p:nvPr>
        </p:nvSpPr>
        <p:spPr>
          <a:xfrm>
            <a:off x="4739921" y="758703"/>
            <a:ext cx="763200" cy="763200"/>
          </a:xfrm>
        </p:spPr>
        <p:txBody>
          <a:bodyPr/>
          <a:lstStyle>
            <a:lvl1pPr>
              <a:defRPr sz="800"/>
            </a:lvl1pPr>
          </a:lstStyle>
          <a:p>
            <a:r>
              <a:rPr lang="en-US"/>
              <a:t>Click icon to add picture</a:t>
            </a:r>
            <a:endParaRPr lang="en-GB"/>
          </a:p>
        </p:txBody>
      </p:sp>
      <p:sp>
        <p:nvSpPr>
          <p:cNvPr id="6" name="Picture Placeholder 5">
            <a:extLst>
              <a:ext uri="{FF2B5EF4-FFF2-40B4-BE49-F238E27FC236}">
                <a16:creationId xmlns:a16="http://schemas.microsoft.com/office/drawing/2014/main" id="{45CFBAEA-4F9C-B0EE-7FE5-FEE17E915BBC}"/>
              </a:ext>
            </a:extLst>
          </p:cNvPr>
          <p:cNvSpPr>
            <a:spLocks noGrp="1"/>
          </p:cNvSpPr>
          <p:nvPr>
            <p:ph type="pic" sz="quarter" idx="38"/>
          </p:nvPr>
        </p:nvSpPr>
        <p:spPr>
          <a:xfrm>
            <a:off x="4739921" y="2127149"/>
            <a:ext cx="763200" cy="763200"/>
          </a:xfrm>
        </p:spPr>
        <p:txBody>
          <a:bodyPr/>
          <a:lstStyle>
            <a:lvl1pPr>
              <a:defRPr sz="800"/>
            </a:lvl1pPr>
          </a:lstStyle>
          <a:p>
            <a:r>
              <a:rPr lang="en-US"/>
              <a:t>Click icon to add picture</a:t>
            </a:r>
            <a:endParaRPr lang="en-GB"/>
          </a:p>
        </p:txBody>
      </p:sp>
      <p:sp>
        <p:nvSpPr>
          <p:cNvPr id="7" name="Picture Placeholder 5">
            <a:extLst>
              <a:ext uri="{FF2B5EF4-FFF2-40B4-BE49-F238E27FC236}">
                <a16:creationId xmlns:a16="http://schemas.microsoft.com/office/drawing/2014/main" id="{98D2757F-3DD5-E433-7C6D-DE9856DDEC1F}"/>
              </a:ext>
            </a:extLst>
          </p:cNvPr>
          <p:cNvSpPr>
            <a:spLocks noGrp="1"/>
          </p:cNvSpPr>
          <p:nvPr>
            <p:ph type="pic" sz="quarter" idx="39"/>
          </p:nvPr>
        </p:nvSpPr>
        <p:spPr>
          <a:xfrm>
            <a:off x="4739921" y="3495595"/>
            <a:ext cx="763200" cy="763200"/>
          </a:xfrm>
        </p:spPr>
        <p:txBody>
          <a:bodyPr/>
          <a:lstStyle>
            <a:lvl1pPr>
              <a:defRPr sz="800"/>
            </a:lvl1pPr>
          </a:lstStyle>
          <a:p>
            <a:r>
              <a:rPr lang="en-US"/>
              <a:t>Click icon to add picture</a:t>
            </a:r>
            <a:endParaRPr lang="en-GB"/>
          </a:p>
        </p:txBody>
      </p:sp>
      <p:sp>
        <p:nvSpPr>
          <p:cNvPr id="8" name="Picture Placeholder 5">
            <a:extLst>
              <a:ext uri="{FF2B5EF4-FFF2-40B4-BE49-F238E27FC236}">
                <a16:creationId xmlns:a16="http://schemas.microsoft.com/office/drawing/2014/main" id="{F2FF5D93-9C43-D38B-C362-53C129419375}"/>
              </a:ext>
            </a:extLst>
          </p:cNvPr>
          <p:cNvSpPr>
            <a:spLocks noGrp="1"/>
          </p:cNvSpPr>
          <p:nvPr>
            <p:ph type="pic" sz="quarter" idx="49"/>
          </p:nvPr>
        </p:nvSpPr>
        <p:spPr>
          <a:xfrm>
            <a:off x="4739921" y="4864040"/>
            <a:ext cx="763200" cy="763200"/>
          </a:xfrm>
        </p:spPr>
        <p:txBody>
          <a:bodyPr/>
          <a:lstStyle>
            <a:lvl1pPr>
              <a:defRPr sz="800"/>
            </a:lvl1pPr>
          </a:lstStyle>
          <a:p>
            <a:r>
              <a:rPr lang="en-US"/>
              <a:t>Click icon to add picture</a:t>
            </a:r>
            <a:endParaRPr lang="en-GB"/>
          </a:p>
        </p:txBody>
      </p:sp>
      <p:sp>
        <p:nvSpPr>
          <p:cNvPr id="9" name="Footer Placeholder 4">
            <a:extLst>
              <a:ext uri="{FF2B5EF4-FFF2-40B4-BE49-F238E27FC236}">
                <a16:creationId xmlns:a16="http://schemas.microsoft.com/office/drawing/2014/main" id="{FAC20BDA-7501-3265-3163-11B7890EA57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833480931"/>
      </p:ext>
    </p:extLst>
  </p:cSld>
  <p:clrMapOvr>
    <a:masterClrMapping/>
  </p:clrMapOvr>
  <p:extLst>
    <p:ext uri="{DCECCB84-F9BA-43D5-87BE-67443E8EF086}">
      <p15:sldGuideLst xmlns:p15="http://schemas.microsoft.com/office/powerpoint/2012/main">
        <p15:guide id="3" pos="2512">
          <p15:clr>
            <a:srgbClr val="FBAE40"/>
          </p15:clr>
        </p15:guide>
        <p15:guide id="4" pos="281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4 image + 3 stats">
    <p:bg>
      <p:bgPr>
        <a:solidFill>
          <a:schemeClr val="tx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C63FE5FB-A211-73CC-4C9E-410B90519FFF}"/>
              </a:ext>
            </a:extLst>
          </p:cNvPr>
          <p:cNvSpPr>
            <a:spLocks noGrp="1"/>
          </p:cNvSpPr>
          <p:nvPr>
            <p:ph type="pic" sz="quarter" idx="34" hasCustomPrompt="1"/>
          </p:nvPr>
        </p:nvSpPr>
        <p:spPr>
          <a:xfrm>
            <a:off x="4470400" y="138818"/>
            <a:ext cx="7721601"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14" name="Text Placeholder 5">
            <a:extLst>
              <a:ext uri="{FF2B5EF4-FFF2-40B4-BE49-F238E27FC236}">
                <a16:creationId xmlns:a16="http://schemas.microsoft.com/office/drawing/2014/main" id="{989F1A23-EF00-5F5D-9BC2-2B0CC01D4AC6}"/>
              </a:ext>
            </a:extLst>
          </p:cNvPr>
          <p:cNvSpPr>
            <a:spLocks noGrp="1" noChangeAspect="1"/>
          </p:cNvSpPr>
          <p:nvPr>
            <p:ph type="body" sz="quarter" idx="36"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17" name="Text Placeholder 19">
            <a:extLst>
              <a:ext uri="{FF2B5EF4-FFF2-40B4-BE49-F238E27FC236}">
                <a16:creationId xmlns:a16="http://schemas.microsoft.com/office/drawing/2014/main" id="{26B95CB5-E0A9-0C93-6097-EF738C5638B9}"/>
              </a:ext>
            </a:extLst>
          </p:cNvPr>
          <p:cNvSpPr>
            <a:spLocks noGrp="1"/>
          </p:cNvSpPr>
          <p:nvPr>
            <p:ph type="body" sz="quarter" idx="25" hasCustomPrompt="1"/>
          </p:nvPr>
        </p:nvSpPr>
        <p:spPr>
          <a:xfrm>
            <a:off x="1132841" y="2363788"/>
            <a:ext cx="2854960" cy="875665"/>
          </a:xfrm>
        </p:spPr>
        <p:txBody>
          <a:bodyPr/>
          <a:lstStyle>
            <a:lvl1pPr>
              <a:lnSpc>
                <a:spcPct val="90000"/>
              </a:lnSpc>
              <a:spcBef>
                <a:spcPts val="0"/>
              </a:spcBef>
              <a:spcAft>
                <a:spcPts val="0"/>
              </a:spcAft>
              <a:defRPr lang="en-US" sz="4400" b="1" kern="1200" dirty="0" smtClean="0">
                <a:solidFill>
                  <a:schemeClr val="accent3"/>
                </a:solidFill>
                <a:latin typeface="+mn-lt"/>
                <a:ea typeface="+mn-ea"/>
                <a:cs typeface="+mn-cs"/>
              </a:defRPr>
            </a:lvl1pPr>
            <a:lvl2pPr marL="0" indent="0">
              <a:lnSpc>
                <a:spcPct val="90000"/>
              </a:lnSpc>
              <a:spcBef>
                <a:spcPts val="0"/>
              </a:spcBef>
              <a:spcAft>
                <a:spcPts val="0"/>
              </a:spcAft>
              <a:buNone/>
              <a:defRPr lang="en-US" sz="16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19" name="Text Placeholder 19">
            <a:extLst>
              <a:ext uri="{FF2B5EF4-FFF2-40B4-BE49-F238E27FC236}">
                <a16:creationId xmlns:a16="http://schemas.microsoft.com/office/drawing/2014/main" id="{DB079B1A-3A83-6756-69CC-1A601152E366}"/>
              </a:ext>
            </a:extLst>
          </p:cNvPr>
          <p:cNvSpPr>
            <a:spLocks noGrp="1"/>
          </p:cNvSpPr>
          <p:nvPr>
            <p:ph type="body" sz="quarter" idx="29" hasCustomPrompt="1"/>
          </p:nvPr>
        </p:nvSpPr>
        <p:spPr>
          <a:xfrm>
            <a:off x="1132841" y="3690461"/>
            <a:ext cx="2854960" cy="875665"/>
          </a:xfrm>
        </p:spPr>
        <p:txBody>
          <a:bodyPr/>
          <a:lstStyle>
            <a:lvl1pPr>
              <a:lnSpc>
                <a:spcPct val="90000"/>
              </a:lnSpc>
              <a:spcBef>
                <a:spcPts val="0"/>
              </a:spcBef>
              <a:spcAft>
                <a:spcPts val="0"/>
              </a:spcAft>
              <a:defRPr lang="en-US" sz="4400" b="1" kern="1200" dirty="0" smtClean="0">
                <a:solidFill>
                  <a:schemeClr val="accent6"/>
                </a:solidFill>
                <a:latin typeface="+mn-lt"/>
                <a:ea typeface="+mn-ea"/>
                <a:cs typeface="+mn-cs"/>
              </a:defRPr>
            </a:lvl1pPr>
            <a:lvl2pPr marL="0" indent="0">
              <a:lnSpc>
                <a:spcPct val="90000"/>
              </a:lnSpc>
              <a:spcBef>
                <a:spcPts val="0"/>
              </a:spcBef>
              <a:spcAft>
                <a:spcPts val="0"/>
              </a:spcAft>
              <a:buNone/>
              <a:defRPr lang="en-US" sz="16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21" name="Text Placeholder 19">
            <a:extLst>
              <a:ext uri="{FF2B5EF4-FFF2-40B4-BE49-F238E27FC236}">
                <a16:creationId xmlns:a16="http://schemas.microsoft.com/office/drawing/2014/main" id="{2E07F426-34BD-2EAF-A04F-9649E1EE5670}"/>
              </a:ext>
            </a:extLst>
          </p:cNvPr>
          <p:cNvSpPr>
            <a:spLocks noGrp="1"/>
          </p:cNvSpPr>
          <p:nvPr>
            <p:ph type="body" sz="quarter" idx="31" hasCustomPrompt="1"/>
          </p:nvPr>
        </p:nvSpPr>
        <p:spPr>
          <a:xfrm>
            <a:off x="1132841" y="5017135"/>
            <a:ext cx="2854960" cy="875665"/>
          </a:xfrm>
          <a:solidFill>
            <a:schemeClr val="tx1"/>
          </a:solidFill>
        </p:spPr>
        <p:txBody>
          <a:bodyPr/>
          <a:lstStyle>
            <a:lvl1pPr>
              <a:lnSpc>
                <a:spcPct val="90000"/>
              </a:lnSpc>
              <a:spcBef>
                <a:spcPts val="0"/>
              </a:spcBef>
              <a:spcAft>
                <a:spcPts val="0"/>
              </a:spcAft>
              <a:defRPr lang="en-US" sz="4400" b="1" kern="1200" dirty="0" smtClean="0">
                <a:solidFill>
                  <a:schemeClr val="accent5"/>
                </a:solidFill>
                <a:latin typeface="+mn-lt"/>
                <a:ea typeface="+mn-ea"/>
                <a:cs typeface="+mn-cs"/>
              </a:defRPr>
            </a:lvl1pPr>
            <a:lvl2pPr marL="0" indent="0">
              <a:lnSpc>
                <a:spcPct val="90000"/>
              </a:lnSpc>
              <a:spcBef>
                <a:spcPts val="0"/>
              </a:spcBef>
              <a:spcAft>
                <a:spcPts val="0"/>
              </a:spcAft>
              <a:buNone/>
              <a:defRPr lang="en-US" sz="16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22" name="Slide Number Placeholder 2">
            <a:extLst>
              <a:ext uri="{FF2B5EF4-FFF2-40B4-BE49-F238E27FC236}">
                <a16:creationId xmlns:a16="http://schemas.microsoft.com/office/drawing/2014/main" id="{DAD30696-6377-9385-E3AD-CA8BF2CEE5F8}"/>
              </a:ext>
            </a:extLst>
          </p:cNvPr>
          <p:cNvSpPr>
            <a:spLocks noGrp="1"/>
          </p:cNvSpPr>
          <p:nvPr>
            <p:ph type="sldNum" sz="quarter" idx="48"/>
          </p:nvPr>
        </p:nvSpPr>
        <p:spPr>
          <a:xfrm>
            <a:off x="479425" y="6339948"/>
            <a:ext cx="173038" cy="169200"/>
          </a:xfrm>
        </p:spPr>
        <p:txBody>
          <a:bodyPr/>
          <a:lstStyle>
            <a:lvl1pPr>
              <a:defRPr>
                <a:solidFill>
                  <a:schemeClr val="bg1"/>
                </a:solidFill>
              </a:defRPr>
            </a:lvl1pPr>
          </a:lstStyle>
          <a:p>
            <a:fld id="{E4C2AD82-1025-4508-97C1-6F7EE5C92734}" type="slidenum">
              <a:rPr lang="en-AU" smtClean="0"/>
              <a:pPr/>
              <a:t>‹#›</a:t>
            </a:fld>
            <a:endParaRPr lang="en-AU"/>
          </a:p>
        </p:txBody>
      </p:sp>
      <p:sp>
        <p:nvSpPr>
          <p:cNvPr id="23" name="Title 5">
            <a:extLst>
              <a:ext uri="{FF2B5EF4-FFF2-40B4-BE49-F238E27FC236}">
                <a16:creationId xmlns:a16="http://schemas.microsoft.com/office/drawing/2014/main" id="{47A050EA-2854-029E-F9CC-25A362C57316}"/>
              </a:ext>
            </a:extLst>
          </p:cNvPr>
          <p:cNvSpPr>
            <a:spLocks noGrp="1"/>
          </p:cNvSpPr>
          <p:nvPr>
            <p:ph type="title"/>
          </p:nvPr>
        </p:nvSpPr>
        <p:spPr>
          <a:xfrm>
            <a:off x="479425" y="604203"/>
            <a:ext cx="3508376" cy="1492885"/>
          </a:xfrm>
        </p:spPr>
        <p:txBody>
          <a:bodyPr/>
          <a:lstStyle>
            <a:lvl1pPr>
              <a:defRPr>
                <a:solidFill>
                  <a:schemeClr val="bg1"/>
                </a:solidFill>
              </a:defRPr>
            </a:lvl1pPr>
          </a:lstStyle>
          <a:p>
            <a:r>
              <a:rPr lang="en-US"/>
              <a:t>Click to edit Master title style</a:t>
            </a:r>
            <a:endParaRPr lang="en-AU"/>
          </a:p>
        </p:txBody>
      </p:sp>
      <p:sp>
        <p:nvSpPr>
          <p:cNvPr id="4" name="Rectangle 3">
            <a:extLst>
              <a:ext uri="{FF2B5EF4-FFF2-40B4-BE49-F238E27FC236}">
                <a16:creationId xmlns:a16="http://schemas.microsoft.com/office/drawing/2014/main" id="{08226460-B223-B1E0-182A-B110B2695F4A}"/>
              </a:ext>
            </a:extLst>
          </p:cNvPr>
          <p:cNvSpPr/>
          <p:nvPr userDrawn="1"/>
        </p:nvSpPr>
        <p:spPr>
          <a:xfrm>
            <a:off x="0" y="0"/>
            <a:ext cx="12192000" cy="13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Picture Placeholder 5">
            <a:extLst>
              <a:ext uri="{FF2B5EF4-FFF2-40B4-BE49-F238E27FC236}">
                <a16:creationId xmlns:a16="http://schemas.microsoft.com/office/drawing/2014/main" id="{3A32B860-84F5-5963-2E62-44E9F469CF16}"/>
              </a:ext>
            </a:extLst>
          </p:cNvPr>
          <p:cNvSpPr>
            <a:spLocks noGrp="1"/>
          </p:cNvSpPr>
          <p:nvPr>
            <p:ph type="pic" sz="quarter" idx="37"/>
          </p:nvPr>
        </p:nvSpPr>
        <p:spPr>
          <a:xfrm>
            <a:off x="479425" y="2363788"/>
            <a:ext cx="522000" cy="522000"/>
          </a:xfrm>
        </p:spPr>
        <p:txBody>
          <a:bodyPr/>
          <a:lstStyle>
            <a:lvl1pPr>
              <a:defRPr sz="800"/>
            </a:lvl1pPr>
          </a:lstStyle>
          <a:p>
            <a:r>
              <a:rPr lang="en-US"/>
              <a:t>Click icon to add picture</a:t>
            </a:r>
            <a:endParaRPr lang="en-GB"/>
          </a:p>
        </p:txBody>
      </p:sp>
      <p:sp>
        <p:nvSpPr>
          <p:cNvPr id="3" name="Picture Placeholder 5">
            <a:extLst>
              <a:ext uri="{FF2B5EF4-FFF2-40B4-BE49-F238E27FC236}">
                <a16:creationId xmlns:a16="http://schemas.microsoft.com/office/drawing/2014/main" id="{7763FA47-E638-679B-5EAB-F8F410601354}"/>
              </a:ext>
            </a:extLst>
          </p:cNvPr>
          <p:cNvSpPr>
            <a:spLocks noGrp="1"/>
          </p:cNvSpPr>
          <p:nvPr>
            <p:ph type="pic" sz="quarter" idx="38"/>
          </p:nvPr>
        </p:nvSpPr>
        <p:spPr>
          <a:xfrm>
            <a:off x="479425" y="3690461"/>
            <a:ext cx="522000" cy="522000"/>
          </a:xfrm>
        </p:spPr>
        <p:txBody>
          <a:bodyPr/>
          <a:lstStyle>
            <a:lvl1pPr>
              <a:defRPr sz="800"/>
            </a:lvl1pPr>
          </a:lstStyle>
          <a:p>
            <a:r>
              <a:rPr lang="en-US"/>
              <a:t>Click icon to add picture</a:t>
            </a:r>
            <a:endParaRPr lang="en-GB"/>
          </a:p>
        </p:txBody>
      </p:sp>
      <p:sp>
        <p:nvSpPr>
          <p:cNvPr id="5" name="Picture Placeholder 5">
            <a:extLst>
              <a:ext uri="{FF2B5EF4-FFF2-40B4-BE49-F238E27FC236}">
                <a16:creationId xmlns:a16="http://schemas.microsoft.com/office/drawing/2014/main" id="{71149FAE-5BF5-8613-8CCC-95D58BE9ACE1}"/>
              </a:ext>
            </a:extLst>
          </p:cNvPr>
          <p:cNvSpPr>
            <a:spLocks noGrp="1"/>
          </p:cNvSpPr>
          <p:nvPr>
            <p:ph type="pic" sz="quarter" idx="39"/>
          </p:nvPr>
        </p:nvSpPr>
        <p:spPr>
          <a:xfrm>
            <a:off x="479425" y="5017135"/>
            <a:ext cx="522000" cy="522000"/>
          </a:xfrm>
        </p:spPr>
        <p:txBody>
          <a:bodyPr/>
          <a:lstStyle>
            <a:lvl1pPr>
              <a:defRPr sz="800"/>
            </a:lvl1pPr>
          </a:lstStyle>
          <a:p>
            <a:r>
              <a:rPr lang="en-US"/>
              <a:t>Click icon to add picture</a:t>
            </a:r>
            <a:endParaRPr lang="en-GB"/>
          </a:p>
        </p:txBody>
      </p:sp>
      <p:sp>
        <p:nvSpPr>
          <p:cNvPr id="7" name="Footer Placeholder 4">
            <a:extLst>
              <a:ext uri="{FF2B5EF4-FFF2-40B4-BE49-F238E27FC236}">
                <a16:creationId xmlns:a16="http://schemas.microsoft.com/office/drawing/2014/main" id="{F76C87F1-2F3B-E3D0-2356-6EEE7079868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3156208827"/>
      </p:ext>
    </p:extLst>
  </p:cSld>
  <p:clrMapOvr>
    <a:masterClrMapping/>
  </p:clrMapOvr>
  <p:extLst>
    <p:ext uri="{DCECCB84-F9BA-43D5-87BE-67443E8EF086}">
      <p15:sldGuideLst xmlns:p15="http://schemas.microsoft.com/office/powerpoint/2012/main">
        <p15:guide id="3" pos="2512" userDrawn="1">
          <p15:clr>
            <a:srgbClr val="FBAE40"/>
          </p15:clr>
        </p15:guide>
        <p15:guide id="4" pos="281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2_option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4E4CD80-2086-EB01-2772-A34FAE96A566}"/>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79425" y="3643376"/>
            <a:ext cx="10842844" cy="645610"/>
          </a:xfrm>
        </p:spPr>
        <p:txBody>
          <a:bodyPr anchor="t" anchorCtr="0"/>
          <a:lstStyle>
            <a:lvl1pPr algn="l">
              <a:defRPr sz="3400">
                <a:solidFill>
                  <a:schemeClr val="tx1"/>
                </a:solidFill>
              </a:defRPr>
            </a:lvl1pPr>
          </a:lstStyle>
          <a:p>
            <a:r>
              <a:rPr lang="en-US"/>
              <a:t>Your text here</a:t>
            </a:r>
            <a:endParaRPr lang="en-AU"/>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79425" y="5971667"/>
            <a:ext cx="3600000" cy="252000"/>
          </a:xfrm>
        </p:spPr>
        <p:txBody>
          <a:bodyPr/>
          <a:lstStyle>
            <a:lvl1pPr marL="0" indent="0" algn="l">
              <a:buNone/>
              <a:defRPr sz="15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9" name="Text Placeholder 8">
            <a:extLst>
              <a:ext uri="{FF2B5EF4-FFF2-40B4-BE49-F238E27FC236}">
                <a16:creationId xmlns:a16="http://schemas.microsoft.com/office/drawing/2014/main" id="{B0697358-839B-D5D6-EB0F-627FBD488A49}"/>
              </a:ext>
            </a:extLst>
          </p:cNvPr>
          <p:cNvSpPr>
            <a:spLocks noGrp="1"/>
          </p:cNvSpPr>
          <p:nvPr>
            <p:ph type="body" sz="quarter" idx="10" hasCustomPrompt="1"/>
          </p:nvPr>
        </p:nvSpPr>
        <p:spPr>
          <a:xfrm>
            <a:off x="479425" y="3438016"/>
            <a:ext cx="11268000" cy="10800"/>
          </a:xfrm>
          <a:solidFill>
            <a:schemeClr val="tx1"/>
          </a:solidFill>
        </p:spPr>
        <p:txBody>
          <a:bodyPr/>
          <a:lstStyle>
            <a:lvl1pPr>
              <a:defRPr/>
            </a:lvl1pPr>
          </a:lstStyle>
          <a:p>
            <a:pPr lvl="0"/>
            <a:r>
              <a:rPr lang="en-US"/>
              <a:t> </a:t>
            </a:r>
            <a:endParaRPr lang="en-AU"/>
          </a:p>
        </p:txBody>
      </p:sp>
      <p:sp>
        <p:nvSpPr>
          <p:cNvPr id="10" name="Text Placeholder 8">
            <a:extLst>
              <a:ext uri="{FF2B5EF4-FFF2-40B4-BE49-F238E27FC236}">
                <a16:creationId xmlns:a16="http://schemas.microsoft.com/office/drawing/2014/main" id="{C1A15EDA-4756-C16A-4B18-DED8C97F5836}"/>
              </a:ext>
            </a:extLst>
          </p:cNvPr>
          <p:cNvSpPr>
            <a:spLocks noGrp="1"/>
          </p:cNvSpPr>
          <p:nvPr>
            <p:ph type="body" sz="quarter" idx="11" hasCustomPrompt="1"/>
          </p:nvPr>
        </p:nvSpPr>
        <p:spPr>
          <a:xfrm>
            <a:off x="479425" y="5522848"/>
            <a:ext cx="11268000" cy="10800"/>
          </a:xfrm>
          <a:solidFill>
            <a:schemeClr val="tx1"/>
          </a:solidFill>
        </p:spPr>
        <p:txBody>
          <a:bodyPr/>
          <a:lstStyle>
            <a:lvl1pPr>
              <a:defRPr/>
            </a:lvl1pPr>
          </a:lstStyle>
          <a:p>
            <a:pPr lvl="0"/>
            <a:r>
              <a:rPr lang="en-US"/>
              <a:t> </a:t>
            </a:r>
            <a:endParaRPr lang="en-AU"/>
          </a:p>
        </p:txBody>
      </p:sp>
      <p:sp>
        <p:nvSpPr>
          <p:cNvPr id="14" name="Freeform: Shape 13">
            <a:extLst>
              <a:ext uri="{FF2B5EF4-FFF2-40B4-BE49-F238E27FC236}">
                <a16:creationId xmlns:a16="http://schemas.microsoft.com/office/drawing/2014/main" id="{514E4B23-6332-3A02-73C0-39F17AA4B5FF}"/>
              </a:ext>
            </a:extLst>
          </p:cNvPr>
          <p:cNvSpPr/>
          <p:nvPr/>
        </p:nvSpPr>
        <p:spPr>
          <a:xfrm>
            <a:off x="464621" y="1748678"/>
            <a:ext cx="232692" cy="265159"/>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rgbClr val="FFFFFF"/>
          </a:solidFill>
          <a:ln w="12748"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60706CA0-469D-523F-DDEB-E53B7818274F}"/>
              </a:ext>
            </a:extLst>
          </p:cNvPr>
          <p:cNvSpPr/>
          <p:nvPr/>
        </p:nvSpPr>
        <p:spPr>
          <a:xfrm>
            <a:off x="703529" y="1748612"/>
            <a:ext cx="264233" cy="265159"/>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rgbClr val="FFFFFF"/>
          </a:solidFill>
          <a:ln w="12748"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342CA9A7-38B2-EA69-968E-F54C227344FF}"/>
              </a:ext>
            </a:extLst>
          </p:cNvPr>
          <p:cNvSpPr/>
          <p:nvPr/>
        </p:nvSpPr>
        <p:spPr>
          <a:xfrm>
            <a:off x="958769" y="1655945"/>
            <a:ext cx="684520" cy="35266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rgbClr val="FFFFFF"/>
          </a:solidFill>
          <a:ln w="12748"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2986FD0E-1F1F-9396-8067-238C1F1D425F}"/>
              </a:ext>
            </a:extLst>
          </p:cNvPr>
          <p:cNvSpPr/>
          <p:nvPr/>
        </p:nvSpPr>
        <p:spPr>
          <a:xfrm>
            <a:off x="1626824" y="1748546"/>
            <a:ext cx="245321" cy="263770"/>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rgbClr val="FFFFFF"/>
          </a:solidFill>
          <a:ln w="12748"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A6C729BC-1312-4D84-F245-730E2DEE76B2}"/>
              </a:ext>
            </a:extLst>
          </p:cNvPr>
          <p:cNvSpPr/>
          <p:nvPr/>
        </p:nvSpPr>
        <p:spPr>
          <a:xfrm>
            <a:off x="1890660" y="1751456"/>
            <a:ext cx="157508" cy="254380"/>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rgbClr val="FFFFFF"/>
          </a:solidFill>
          <a:ln w="12748"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8B97EC9D-3EAF-339A-74C3-05C6C92B6BAF}"/>
              </a:ext>
            </a:extLst>
          </p:cNvPr>
          <p:cNvSpPr/>
          <p:nvPr/>
        </p:nvSpPr>
        <p:spPr>
          <a:xfrm>
            <a:off x="2045987" y="1748612"/>
            <a:ext cx="254855" cy="264696"/>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rgbClr val="FFFFFF"/>
          </a:solidFill>
          <a:ln w="12748" cap="flat">
            <a:noFill/>
            <a:prstDash val="solid"/>
            <a:miter/>
          </a:ln>
        </p:spPr>
        <p:txBody>
          <a:bodyPr rtlCol="0" anchor="ctr"/>
          <a:lstStyle/>
          <a:p>
            <a:endParaRPr lang="en-AU"/>
          </a:p>
        </p:txBody>
      </p:sp>
      <p:sp>
        <p:nvSpPr>
          <p:cNvPr id="21" name="Text Placeholder 20">
            <a:extLst>
              <a:ext uri="{FF2B5EF4-FFF2-40B4-BE49-F238E27FC236}">
                <a16:creationId xmlns:a16="http://schemas.microsoft.com/office/drawing/2014/main" id="{448993CC-D7E4-12D5-5827-680DDF8329FD}"/>
              </a:ext>
            </a:extLst>
          </p:cNvPr>
          <p:cNvSpPr>
            <a:spLocks noGrp="1"/>
          </p:cNvSpPr>
          <p:nvPr>
            <p:ph type="body" sz="quarter" idx="12" hasCustomPrompt="1"/>
          </p:nvPr>
        </p:nvSpPr>
        <p:spPr>
          <a:xfrm>
            <a:off x="479424" y="5748020"/>
            <a:ext cx="3600000" cy="252000"/>
          </a:xfrm>
        </p:spPr>
        <p:txBody>
          <a:bodyPr/>
          <a:lstStyle>
            <a:lvl1pPr>
              <a:defRPr sz="1500" b="1">
                <a:solidFill>
                  <a:schemeClr val="tx1"/>
                </a:solidFill>
              </a:defRPr>
            </a:lvl1pPr>
          </a:lstStyle>
          <a:p>
            <a:pPr lvl="0"/>
            <a:r>
              <a:rPr lang="en-US"/>
              <a:t>Partners presentation</a:t>
            </a:r>
          </a:p>
        </p:txBody>
      </p:sp>
      <p:sp>
        <p:nvSpPr>
          <p:cNvPr id="7" name="Text Placeholder 5">
            <a:extLst>
              <a:ext uri="{FF2B5EF4-FFF2-40B4-BE49-F238E27FC236}">
                <a16:creationId xmlns:a16="http://schemas.microsoft.com/office/drawing/2014/main" id="{15A88D3F-FE5F-0108-D85A-B5C8823FFFE0}"/>
              </a:ext>
            </a:extLst>
          </p:cNvPr>
          <p:cNvSpPr>
            <a:spLocks noGrp="1"/>
          </p:cNvSpPr>
          <p:nvPr>
            <p:ph type="body" sz="quarter" idx="35" hasCustomPrompt="1"/>
          </p:nvPr>
        </p:nvSpPr>
        <p:spPr>
          <a:xfrm>
            <a:off x="381635" y="885953"/>
            <a:ext cx="5727600" cy="199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6" name="Rectangle 5">
            <a:extLst>
              <a:ext uri="{FF2B5EF4-FFF2-40B4-BE49-F238E27FC236}">
                <a16:creationId xmlns:a16="http://schemas.microsoft.com/office/drawing/2014/main" id="{B4E45692-BFE9-09C0-E6A0-829339DFF0E0}"/>
              </a:ext>
            </a:extLst>
          </p:cNvPr>
          <p:cNvSpPr/>
          <p:nvPr userDrawn="1"/>
        </p:nvSpPr>
        <p:spPr>
          <a:xfrm>
            <a:off x="0" y="0"/>
            <a:ext cx="12192000" cy="136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970041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key points_gradient banner">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8C4F0A6-5E3F-AAD2-9C5B-31F32F1EE227}"/>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0"/>
            <a:ext cx="12192000" cy="6852920"/>
          </a:xfrm>
          <a:prstGeom prst="rect">
            <a:avLst/>
          </a:prstGeom>
        </p:spPr>
      </p:pic>
      <p:sp>
        <p:nvSpPr>
          <p:cNvPr id="6" name="Slide Number Placeholder 17">
            <a:extLst>
              <a:ext uri="{FF2B5EF4-FFF2-40B4-BE49-F238E27FC236}">
                <a16:creationId xmlns:a16="http://schemas.microsoft.com/office/drawing/2014/main" id="{D3AFFD45-303C-2C62-0220-C401D4813A4C}"/>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a:t>
            </a:fld>
            <a:endParaRPr lang="en-AU"/>
          </a:p>
        </p:txBody>
      </p:sp>
      <p:sp>
        <p:nvSpPr>
          <p:cNvPr id="31" name="Content Placeholder 89">
            <a:extLst>
              <a:ext uri="{FF2B5EF4-FFF2-40B4-BE49-F238E27FC236}">
                <a16:creationId xmlns:a16="http://schemas.microsoft.com/office/drawing/2014/main" id="{3E45365E-FCF4-ACCC-A523-DE8F177BDE2A}"/>
              </a:ext>
            </a:extLst>
          </p:cNvPr>
          <p:cNvSpPr>
            <a:spLocks noGrp="1"/>
          </p:cNvSpPr>
          <p:nvPr>
            <p:ph sz="quarter" idx="54"/>
          </p:nvPr>
        </p:nvSpPr>
        <p:spPr>
          <a:xfrm>
            <a:off x="503434" y="3524036"/>
            <a:ext cx="2372400" cy="82800"/>
          </a:xfrm>
          <a:solidFill>
            <a:schemeClr val="tx1"/>
          </a:solidFill>
        </p:spPr>
        <p:txBody>
          <a:bodyPr/>
          <a:lstStyle>
            <a:lvl1pPr>
              <a:defRPr>
                <a:noFill/>
              </a:defRPr>
            </a:lvl1pPr>
          </a:lstStyle>
          <a:p>
            <a:pPr lvl="0"/>
            <a:r>
              <a:rPr lang="en-US"/>
              <a:t>Click to edit Master text styles</a:t>
            </a:r>
          </a:p>
        </p:txBody>
      </p:sp>
      <p:sp>
        <p:nvSpPr>
          <p:cNvPr id="32" name="Content Placeholder 89">
            <a:extLst>
              <a:ext uri="{FF2B5EF4-FFF2-40B4-BE49-F238E27FC236}">
                <a16:creationId xmlns:a16="http://schemas.microsoft.com/office/drawing/2014/main" id="{A4EABAB8-502A-3B05-7742-8BEDC2C83A15}"/>
              </a:ext>
            </a:extLst>
          </p:cNvPr>
          <p:cNvSpPr>
            <a:spLocks noGrp="1"/>
          </p:cNvSpPr>
          <p:nvPr>
            <p:ph sz="quarter" idx="55"/>
          </p:nvPr>
        </p:nvSpPr>
        <p:spPr>
          <a:xfrm>
            <a:off x="3279724" y="3524036"/>
            <a:ext cx="2372400" cy="82800"/>
          </a:xfrm>
          <a:solidFill>
            <a:schemeClr val="tx1"/>
          </a:solidFill>
        </p:spPr>
        <p:txBody>
          <a:bodyPr/>
          <a:lstStyle>
            <a:lvl1pPr>
              <a:defRPr>
                <a:noFill/>
              </a:defRPr>
            </a:lvl1pPr>
          </a:lstStyle>
          <a:p>
            <a:pPr lvl="0"/>
            <a:r>
              <a:rPr lang="en-US"/>
              <a:t>Click to edit Master text styles</a:t>
            </a:r>
          </a:p>
        </p:txBody>
      </p:sp>
      <p:sp>
        <p:nvSpPr>
          <p:cNvPr id="33" name="Content Placeholder 89">
            <a:extLst>
              <a:ext uri="{FF2B5EF4-FFF2-40B4-BE49-F238E27FC236}">
                <a16:creationId xmlns:a16="http://schemas.microsoft.com/office/drawing/2014/main" id="{6E9B48D5-3179-D287-79C8-6F2472A84B10}"/>
              </a:ext>
            </a:extLst>
          </p:cNvPr>
          <p:cNvSpPr>
            <a:spLocks noGrp="1"/>
          </p:cNvSpPr>
          <p:nvPr>
            <p:ph sz="quarter" idx="56"/>
          </p:nvPr>
        </p:nvSpPr>
        <p:spPr>
          <a:xfrm>
            <a:off x="6056014" y="3524036"/>
            <a:ext cx="2372400" cy="82800"/>
          </a:xfrm>
          <a:solidFill>
            <a:schemeClr val="tx1"/>
          </a:solidFill>
        </p:spPr>
        <p:txBody>
          <a:bodyPr/>
          <a:lstStyle>
            <a:lvl1pPr>
              <a:defRPr>
                <a:noFill/>
              </a:defRPr>
            </a:lvl1pPr>
          </a:lstStyle>
          <a:p>
            <a:pPr lvl="0"/>
            <a:r>
              <a:rPr lang="en-US"/>
              <a:t>Click to edit Master text styles</a:t>
            </a:r>
          </a:p>
        </p:txBody>
      </p:sp>
      <p:sp>
        <p:nvSpPr>
          <p:cNvPr id="34" name="Content Placeholder 89">
            <a:extLst>
              <a:ext uri="{FF2B5EF4-FFF2-40B4-BE49-F238E27FC236}">
                <a16:creationId xmlns:a16="http://schemas.microsoft.com/office/drawing/2014/main" id="{7A57A5F5-2313-E7CB-C785-2E67E72165EB}"/>
              </a:ext>
            </a:extLst>
          </p:cNvPr>
          <p:cNvSpPr>
            <a:spLocks noGrp="1"/>
          </p:cNvSpPr>
          <p:nvPr>
            <p:ph sz="quarter" idx="57"/>
          </p:nvPr>
        </p:nvSpPr>
        <p:spPr>
          <a:xfrm>
            <a:off x="8832304" y="3524036"/>
            <a:ext cx="2372400" cy="82800"/>
          </a:xfrm>
          <a:solidFill>
            <a:schemeClr val="tx1"/>
          </a:solidFill>
        </p:spPr>
        <p:txBody>
          <a:bodyPr/>
          <a:lstStyle>
            <a:lvl1pPr>
              <a:defRPr>
                <a:noFill/>
              </a:defRPr>
            </a:lvl1pPr>
          </a:lstStyle>
          <a:p>
            <a:pPr lvl="0"/>
            <a:r>
              <a:rPr lang="en-US"/>
              <a:t>Click to edit Master text styles</a:t>
            </a:r>
          </a:p>
        </p:txBody>
      </p:sp>
      <p:sp>
        <p:nvSpPr>
          <p:cNvPr id="45" name="Content Placeholder 2">
            <a:extLst>
              <a:ext uri="{FF2B5EF4-FFF2-40B4-BE49-F238E27FC236}">
                <a16:creationId xmlns:a16="http://schemas.microsoft.com/office/drawing/2014/main" id="{5C479B40-AE4A-507C-A6F1-2271D9A20445}"/>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46" name="Title 5">
            <a:extLst>
              <a:ext uri="{FF2B5EF4-FFF2-40B4-BE49-F238E27FC236}">
                <a16:creationId xmlns:a16="http://schemas.microsoft.com/office/drawing/2014/main" id="{90FCAF2D-B2D1-8E39-FEDA-DA708FBB0BB2}"/>
              </a:ext>
            </a:extLst>
          </p:cNvPr>
          <p:cNvSpPr>
            <a:spLocks noGrp="1"/>
          </p:cNvSpPr>
          <p:nvPr>
            <p:ph type="title"/>
          </p:nvPr>
        </p:nvSpPr>
        <p:spPr>
          <a:xfrm>
            <a:off x="479425" y="604203"/>
            <a:ext cx="11233150" cy="746695"/>
          </a:xfrm>
        </p:spPr>
        <p:txBody>
          <a:bodyPr/>
          <a:lstStyle/>
          <a:p>
            <a:r>
              <a:rPr lang="en-US"/>
              <a:t>Click to edit Master title style</a:t>
            </a:r>
            <a:endParaRPr lang="en-AU"/>
          </a:p>
        </p:txBody>
      </p:sp>
      <p:sp>
        <p:nvSpPr>
          <p:cNvPr id="47" name="Text Placeholder 10">
            <a:extLst>
              <a:ext uri="{FF2B5EF4-FFF2-40B4-BE49-F238E27FC236}">
                <a16:creationId xmlns:a16="http://schemas.microsoft.com/office/drawing/2014/main" id="{C5477266-087C-CB1D-48B2-B0F67343B138}"/>
              </a:ext>
            </a:extLst>
          </p:cNvPr>
          <p:cNvSpPr>
            <a:spLocks noGrp="1"/>
          </p:cNvSpPr>
          <p:nvPr>
            <p:ph type="body" sz="quarter" idx="62"/>
          </p:nvPr>
        </p:nvSpPr>
        <p:spPr>
          <a:xfrm>
            <a:off x="503434" y="3745446"/>
            <a:ext cx="2362669" cy="233966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48" name="Text Placeholder 10">
            <a:extLst>
              <a:ext uri="{FF2B5EF4-FFF2-40B4-BE49-F238E27FC236}">
                <a16:creationId xmlns:a16="http://schemas.microsoft.com/office/drawing/2014/main" id="{0D6CFEC7-B960-7B5D-2995-6966C77B96C5}"/>
              </a:ext>
            </a:extLst>
          </p:cNvPr>
          <p:cNvSpPr>
            <a:spLocks noGrp="1"/>
          </p:cNvSpPr>
          <p:nvPr>
            <p:ph type="body" sz="quarter" idx="63"/>
          </p:nvPr>
        </p:nvSpPr>
        <p:spPr>
          <a:xfrm>
            <a:off x="3278661" y="3745446"/>
            <a:ext cx="2362669" cy="233966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49" name="Text Placeholder 10">
            <a:extLst>
              <a:ext uri="{FF2B5EF4-FFF2-40B4-BE49-F238E27FC236}">
                <a16:creationId xmlns:a16="http://schemas.microsoft.com/office/drawing/2014/main" id="{E767BFFC-7350-94A3-1B52-2685ACC6342F}"/>
              </a:ext>
            </a:extLst>
          </p:cNvPr>
          <p:cNvSpPr>
            <a:spLocks noGrp="1"/>
          </p:cNvSpPr>
          <p:nvPr>
            <p:ph type="body" sz="quarter" idx="64"/>
          </p:nvPr>
        </p:nvSpPr>
        <p:spPr>
          <a:xfrm>
            <a:off x="6056014" y="3745446"/>
            <a:ext cx="2362669" cy="233966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50" name="Text Placeholder 10">
            <a:extLst>
              <a:ext uri="{FF2B5EF4-FFF2-40B4-BE49-F238E27FC236}">
                <a16:creationId xmlns:a16="http://schemas.microsoft.com/office/drawing/2014/main" id="{2188DAA0-D78A-BA0E-C4F9-9ECB4D99635C}"/>
              </a:ext>
            </a:extLst>
          </p:cNvPr>
          <p:cNvSpPr>
            <a:spLocks noGrp="1"/>
          </p:cNvSpPr>
          <p:nvPr>
            <p:ph type="body" sz="quarter" idx="65"/>
          </p:nvPr>
        </p:nvSpPr>
        <p:spPr>
          <a:xfrm>
            <a:off x="8827981" y="3745446"/>
            <a:ext cx="2362669" cy="233966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pic>
        <p:nvPicPr>
          <p:cNvPr id="4" name="Picture 3" descr="A black screen with white text&#10;&#10;Description automatically generated with medium confidence">
            <a:extLst>
              <a:ext uri="{FF2B5EF4-FFF2-40B4-BE49-F238E27FC236}">
                <a16:creationId xmlns:a16="http://schemas.microsoft.com/office/drawing/2014/main" id="{C192E80E-44F4-6433-CA6D-3B2F6BE8362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1099" y="6173769"/>
            <a:ext cx="828938" cy="291536"/>
          </a:xfrm>
          <a:prstGeom prst="rect">
            <a:avLst/>
          </a:prstGeom>
        </p:spPr>
      </p:pic>
      <p:sp>
        <p:nvSpPr>
          <p:cNvPr id="5" name="Footer Placeholder 4">
            <a:extLst>
              <a:ext uri="{FF2B5EF4-FFF2-40B4-BE49-F238E27FC236}">
                <a16:creationId xmlns:a16="http://schemas.microsoft.com/office/drawing/2014/main" id="{D234404A-F521-3378-FF4A-04E9CD6B7872}"/>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7029112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key points_gradient_image_V2">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0CCE5DFE-B94F-42AA-56E4-AC738566262D}"/>
              </a:ext>
            </a:extLst>
          </p:cNvPr>
          <p:cNvSpPr>
            <a:spLocks noGrp="1"/>
          </p:cNvSpPr>
          <p:nvPr>
            <p:ph type="pic" sz="quarter" idx="34" hasCustomPrompt="1"/>
          </p:nvPr>
        </p:nvSpPr>
        <p:spPr>
          <a:xfrm>
            <a:off x="1" y="138818"/>
            <a:ext cx="6095999"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4" name="Slide Number Placeholder 5">
            <a:extLst>
              <a:ext uri="{FF2B5EF4-FFF2-40B4-BE49-F238E27FC236}">
                <a16:creationId xmlns:a16="http://schemas.microsoft.com/office/drawing/2014/main" id="{78093951-DA61-7826-94E2-EB4EB285C363}"/>
              </a:ext>
            </a:extLst>
          </p:cNvPr>
          <p:cNvSpPr>
            <a:spLocks noGrp="1"/>
          </p:cNvSpPr>
          <p:nvPr>
            <p:ph type="sldNum" sz="quarter" idx="35"/>
          </p:nvPr>
        </p:nvSpPr>
        <p:spPr>
          <a:xfrm>
            <a:off x="479425" y="6339948"/>
            <a:ext cx="173038" cy="169200"/>
          </a:xfrm>
        </p:spPr>
        <p:txBody>
          <a:bodyPr/>
          <a:lstStyle>
            <a:lvl1pPr>
              <a:defRPr>
                <a:solidFill>
                  <a:schemeClr val="bg1">
                    <a:lumMod val="50000"/>
                  </a:schemeClr>
                </a:solidFill>
              </a:defRPr>
            </a:lvl1pPr>
          </a:lstStyle>
          <a:p>
            <a:fld id="{E4C2AD82-1025-4508-97C1-6F7EE5C92734}" type="slidenum">
              <a:rPr lang="en-AU" smtClean="0"/>
              <a:pPr/>
              <a:t>‹#›</a:t>
            </a:fld>
            <a:endParaRPr lang="en-AU"/>
          </a:p>
        </p:txBody>
      </p:sp>
      <p:sp>
        <p:nvSpPr>
          <p:cNvPr id="5" name="Title 3">
            <a:extLst>
              <a:ext uri="{FF2B5EF4-FFF2-40B4-BE49-F238E27FC236}">
                <a16:creationId xmlns:a16="http://schemas.microsoft.com/office/drawing/2014/main" id="{9152C22F-FEF9-5377-20C8-F3F81418129D}"/>
              </a:ext>
            </a:extLst>
          </p:cNvPr>
          <p:cNvSpPr>
            <a:spLocks noGrp="1"/>
          </p:cNvSpPr>
          <p:nvPr>
            <p:ph type="title"/>
          </p:nvPr>
        </p:nvSpPr>
        <p:spPr>
          <a:xfrm>
            <a:off x="479425" y="604203"/>
            <a:ext cx="3503295" cy="1448117"/>
          </a:xfrm>
        </p:spPr>
        <p:txBody>
          <a:bodyPr/>
          <a:lstStyle/>
          <a:p>
            <a:r>
              <a:rPr lang="en-US"/>
              <a:t>Click to edit Master title style</a:t>
            </a:r>
            <a:endParaRPr lang="en-AU"/>
          </a:p>
        </p:txBody>
      </p:sp>
      <p:sp>
        <p:nvSpPr>
          <p:cNvPr id="31" name="Text Placeholder 10">
            <a:extLst>
              <a:ext uri="{FF2B5EF4-FFF2-40B4-BE49-F238E27FC236}">
                <a16:creationId xmlns:a16="http://schemas.microsoft.com/office/drawing/2014/main" id="{D2091B15-1F7F-AE1F-739B-E2D5C9B7986A}"/>
              </a:ext>
            </a:extLst>
          </p:cNvPr>
          <p:cNvSpPr>
            <a:spLocks noGrp="1"/>
          </p:cNvSpPr>
          <p:nvPr>
            <p:ph type="body" sz="quarter" idx="13"/>
          </p:nvPr>
        </p:nvSpPr>
        <p:spPr>
          <a:xfrm>
            <a:off x="7088253" y="810409"/>
            <a:ext cx="4651989"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2" name="Text Placeholder 10">
            <a:extLst>
              <a:ext uri="{FF2B5EF4-FFF2-40B4-BE49-F238E27FC236}">
                <a16:creationId xmlns:a16="http://schemas.microsoft.com/office/drawing/2014/main" id="{9672D018-02DD-7413-9FD4-57A6346FD875}"/>
              </a:ext>
            </a:extLst>
          </p:cNvPr>
          <p:cNvSpPr>
            <a:spLocks noGrp="1"/>
          </p:cNvSpPr>
          <p:nvPr>
            <p:ph type="body" sz="quarter" idx="36"/>
          </p:nvPr>
        </p:nvSpPr>
        <p:spPr>
          <a:xfrm>
            <a:off x="7088253" y="2225739"/>
            <a:ext cx="4651989"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3" name="Text Placeholder 10">
            <a:extLst>
              <a:ext uri="{FF2B5EF4-FFF2-40B4-BE49-F238E27FC236}">
                <a16:creationId xmlns:a16="http://schemas.microsoft.com/office/drawing/2014/main" id="{E4194C34-5213-D259-DD98-1D4E623B8389}"/>
              </a:ext>
            </a:extLst>
          </p:cNvPr>
          <p:cNvSpPr>
            <a:spLocks noGrp="1"/>
          </p:cNvSpPr>
          <p:nvPr>
            <p:ph type="body" sz="quarter" idx="37"/>
          </p:nvPr>
        </p:nvSpPr>
        <p:spPr>
          <a:xfrm>
            <a:off x="7088253" y="3670819"/>
            <a:ext cx="4651989"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4" name="Text Placeholder 10">
            <a:extLst>
              <a:ext uri="{FF2B5EF4-FFF2-40B4-BE49-F238E27FC236}">
                <a16:creationId xmlns:a16="http://schemas.microsoft.com/office/drawing/2014/main" id="{9F4BCE73-4CFB-CD36-C1F3-F37290936989}"/>
              </a:ext>
            </a:extLst>
          </p:cNvPr>
          <p:cNvSpPr>
            <a:spLocks noGrp="1"/>
          </p:cNvSpPr>
          <p:nvPr>
            <p:ph type="body" sz="quarter" idx="38"/>
          </p:nvPr>
        </p:nvSpPr>
        <p:spPr>
          <a:xfrm>
            <a:off x="7088253" y="5056404"/>
            <a:ext cx="4651989"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6" name="Picture Placeholder 5">
            <a:extLst>
              <a:ext uri="{FF2B5EF4-FFF2-40B4-BE49-F238E27FC236}">
                <a16:creationId xmlns:a16="http://schemas.microsoft.com/office/drawing/2014/main" id="{7E215BC2-C97C-E557-1CF7-1D43AD8D4151}"/>
              </a:ext>
            </a:extLst>
          </p:cNvPr>
          <p:cNvSpPr>
            <a:spLocks noGrp="1"/>
          </p:cNvSpPr>
          <p:nvPr>
            <p:ph type="pic" sz="quarter" idx="39"/>
          </p:nvPr>
        </p:nvSpPr>
        <p:spPr>
          <a:xfrm>
            <a:off x="6566254" y="810409"/>
            <a:ext cx="522000" cy="522000"/>
          </a:xfrm>
        </p:spPr>
        <p:txBody>
          <a:bodyPr/>
          <a:lstStyle>
            <a:lvl1pPr>
              <a:defRPr sz="800"/>
            </a:lvl1pPr>
          </a:lstStyle>
          <a:p>
            <a:r>
              <a:rPr lang="en-US"/>
              <a:t>Click icon to add picture</a:t>
            </a:r>
            <a:endParaRPr lang="en-GB"/>
          </a:p>
        </p:txBody>
      </p:sp>
      <p:sp>
        <p:nvSpPr>
          <p:cNvPr id="7" name="Picture Placeholder 5">
            <a:extLst>
              <a:ext uri="{FF2B5EF4-FFF2-40B4-BE49-F238E27FC236}">
                <a16:creationId xmlns:a16="http://schemas.microsoft.com/office/drawing/2014/main" id="{A4B4918F-32DE-2851-A0B8-FC1DE7AB60AC}"/>
              </a:ext>
            </a:extLst>
          </p:cNvPr>
          <p:cNvSpPr>
            <a:spLocks noGrp="1"/>
          </p:cNvSpPr>
          <p:nvPr>
            <p:ph type="pic" sz="quarter" idx="40"/>
          </p:nvPr>
        </p:nvSpPr>
        <p:spPr>
          <a:xfrm>
            <a:off x="6566254" y="2225739"/>
            <a:ext cx="522000" cy="522000"/>
          </a:xfrm>
        </p:spPr>
        <p:txBody>
          <a:bodyPr/>
          <a:lstStyle>
            <a:lvl1pPr>
              <a:defRPr sz="800"/>
            </a:lvl1pPr>
          </a:lstStyle>
          <a:p>
            <a:r>
              <a:rPr lang="en-US"/>
              <a:t>Click icon to add picture</a:t>
            </a:r>
            <a:endParaRPr lang="en-GB"/>
          </a:p>
        </p:txBody>
      </p:sp>
      <p:sp>
        <p:nvSpPr>
          <p:cNvPr id="9" name="Picture Placeholder 5">
            <a:extLst>
              <a:ext uri="{FF2B5EF4-FFF2-40B4-BE49-F238E27FC236}">
                <a16:creationId xmlns:a16="http://schemas.microsoft.com/office/drawing/2014/main" id="{12BBFEC6-FC8D-A43A-65B4-15FA190B4677}"/>
              </a:ext>
            </a:extLst>
          </p:cNvPr>
          <p:cNvSpPr>
            <a:spLocks noGrp="1"/>
          </p:cNvSpPr>
          <p:nvPr>
            <p:ph type="pic" sz="quarter" idx="41"/>
          </p:nvPr>
        </p:nvSpPr>
        <p:spPr>
          <a:xfrm>
            <a:off x="6566254" y="3670819"/>
            <a:ext cx="522000" cy="522000"/>
          </a:xfrm>
        </p:spPr>
        <p:txBody>
          <a:bodyPr/>
          <a:lstStyle>
            <a:lvl1pPr>
              <a:defRPr sz="800"/>
            </a:lvl1pPr>
          </a:lstStyle>
          <a:p>
            <a:r>
              <a:rPr lang="en-US"/>
              <a:t>Click icon to add picture</a:t>
            </a:r>
            <a:endParaRPr lang="en-GB"/>
          </a:p>
        </p:txBody>
      </p:sp>
      <p:sp>
        <p:nvSpPr>
          <p:cNvPr id="11" name="Picture Placeholder 5">
            <a:extLst>
              <a:ext uri="{FF2B5EF4-FFF2-40B4-BE49-F238E27FC236}">
                <a16:creationId xmlns:a16="http://schemas.microsoft.com/office/drawing/2014/main" id="{5B1E3C29-C4D8-9381-9BD0-579D96927F0A}"/>
              </a:ext>
            </a:extLst>
          </p:cNvPr>
          <p:cNvSpPr>
            <a:spLocks noGrp="1"/>
          </p:cNvSpPr>
          <p:nvPr>
            <p:ph type="pic" sz="quarter" idx="49"/>
          </p:nvPr>
        </p:nvSpPr>
        <p:spPr>
          <a:xfrm>
            <a:off x="6566254" y="5056404"/>
            <a:ext cx="522000" cy="522000"/>
          </a:xfrm>
        </p:spPr>
        <p:txBody>
          <a:bodyPr/>
          <a:lstStyle>
            <a:lvl1pPr>
              <a:defRPr sz="800"/>
            </a:lvl1pPr>
          </a:lstStyle>
          <a:p>
            <a:r>
              <a:rPr lang="en-US"/>
              <a:t>Click icon to add picture</a:t>
            </a:r>
            <a:endParaRPr lang="en-GB"/>
          </a:p>
        </p:txBody>
      </p:sp>
      <p:sp>
        <p:nvSpPr>
          <p:cNvPr id="8" name="Footer Placeholder 4">
            <a:extLst>
              <a:ext uri="{FF2B5EF4-FFF2-40B4-BE49-F238E27FC236}">
                <a16:creationId xmlns:a16="http://schemas.microsoft.com/office/drawing/2014/main" id="{33A3075A-6FEE-BB7A-2830-BEBB629E2760}"/>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5553721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 key points_gradient ">
    <p:spTree>
      <p:nvGrpSpPr>
        <p:cNvPr id="1" name=""/>
        <p:cNvGrpSpPr/>
        <p:nvPr/>
      </p:nvGrpSpPr>
      <p:grpSpPr>
        <a:xfrm>
          <a:off x="0" y="0"/>
          <a:ext cx="0" cy="0"/>
          <a:chOff x="0" y="0"/>
          <a:chExt cx="0" cy="0"/>
        </a:xfrm>
      </p:grpSpPr>
      <p:sp>
        <p:nvSpPr>
          <p:cNvPr id="26" name="Content Placeholder 2">
            <a:extLst>
              <a:ext uri="{FF2B5EF4-FFF2-40B4-BE49-F238E27FC236}">
                <a16:creationId xmlns:a16="http://schemas.microsoft.com/office/drawing/2014/main" id="{C2196628-40B1-C741-BEAB-D1EF8DCF6369}"/>
              </a:ext>
            </a:extLst>
          </p:cNvPr>
          <p:cNvSpPr>
            <a:spLocks noGrp="1"/>
          </p:cNvSpPr>
          <p:nvPr>
            <p:ph idx="15" hasCustomPrompt="1"/>
          </p:nvPr>
        </p:nvSpPr>
        <p:spPr>
          <a:xfrm>
            <a:off x="0" y="138818"/>
            <a:ext cx="3787785" cy="6719182"/>
          </a:xfrm>
          <a:blipFill dpi="0" rotWithShape="1">
            <a:blip r:embed="rId2">
              <a:alphaModFix amt="50000"/>
            </a:blip>
            <a:srcRect/>
            <a:stretch>
              <a:fillRect l="-86043" r="-86043"/>
            </a:stretch>
          </a:blipFill>
        </p:spPr>
        <p:txBody>
          <a:bodyPr lIns="180000" tIns="180000" rIns="180000" bIns="180000"/>
          <a:lstStyle>
            <a:lvl1pPr>
              <a:spcAft>
                <a:spcPts val="1800"/>
              </a:spcAft>
              <a:defRPr>
                <a:solidFill>
                  <a:schemeClr val="tx1"/>
                </a:solidFill>
              </a:defRPr>
            </a:lvl1pPr>
            <a:lvl2pPr marL="171450" indent="-171450">
              <a:spcAft>
                <a:spcPts val="0"/>
              </a:spcAft>
              <a:buClrTx/>
              <a:buFont typeface="Arial" panose="020B0604020202020204" pitchFamily="34" charset="0"/>
              <a:buChar char="›"/>
              <a:defRPr sz="1400"/>
            </a:lvl2pPr>
            <a:lvl3pPr marL="358775" indent="-179388">
              <a:spcBef>
                <a:spcPts val="600"/>
              </a:spcBef>
              <a:spcAft>
                <a:spcPts val="600"/>
              </a:spcAft>
              <a:buFont typeface="Arial" panose="020B0604020202020204" pitchFamily="34" charset="0"/>
              <a:buChar char="•"/>
              <a:tabLst>
                <a:tab pos="179388" algn="l"/>
              </a:tabLst>
              <a:defRPr/>
            </a:lvl3pPr>
            <a:lvl4pPr marL="0" indent="0">
              <a:spcBef>
                <a:spcPts val="1800"/>
              </a:spcBef>
              <a:buNone/>
              <a:defRPr sz="1200"/>
            </a:lvl4pPr>
          </a:lstStyle>
          <a:p>
            <a:pPr lvl="0"/>
            <a:r>
              <a:rPr lang="en-US"/>
              <a:t> </a:t>
            </a:r>
            <a:endParaRPr lang="en-AU"/>
          </a:p>
        </p:txBody>
      </p:sp>
      <p:sp>
        <p:nvSpPr>
          <p:cNvPr id="29" name="Slide Number Placeholder 1">
            <a:extLst>
              <a:ext uri="{FF2B5EF4-FFF2-40B4-BE49-F238E27FC236}">
                <a16:creationId xmlns:a16="http://schemas.microsoft.com/office/drawing/2014/main" id="{27B2FE85-B23D-4FCF-1DF9-6F0DA6D03115}"/>
              </a:ext>
            </a:extLst>
          </p:cNvPr>
          <p:cNvSpPr>
            <a:spLocks noGrp="1"/>
          </p:cNvSpPr>
          <p:nvPr>
            <p:ph type="sldNum" sz="quarter" idx="32"/>
          </p:nvPr>
        </p:nvSpPr>
        <p:spPr>
          <a:xfrm>
            <a:off x="479425" y="6339948"/>
            <a:ext cx="173038" cy="169200"/>
          </a:xfrm>
        </p:spPr>
        <p:txBody>
          <a:bodyPr/>
          <a:lstStyle>
            <a:lvl1pPr>
              <a:defRPr>
                <a:solidFill>
                  <a:schemeClr val="tx1"/>
                </a:solidFill>
              </a:defRPr>
            </a:lvl1pPr>
          </a:lstStyle>
          <a:p>
            <a:fld id="{E4C2AD82-1025-4508-97C1-6F7EE5C92734}" type="slidenum">
              <a:rPr lang="en-AU" smtClean="0"/>
              <a:pPr/>
              <a:t>‹#›</a:t>
            </a:fld>
            <a:endParaRPr lang="en-AU"/>
          </a:p>
        </p:txBody>
      </p:sp>
      <p:sp>
        <p:nvSpPr>
          <p:cNvPr id="30" name="Title 3">
            <a:extLst>
              <a:ext uri="{FF2B5EF4-FFF2-40B4-BE49-F238E27FC236}">
                <a16:creationId xmlns:a16="http://schemas.microsoft.com/office/drawing/2014/main" id="{205B40F4-45D0-7443-8322-D06A298A9F09}"/>
              </a:ext>
            </a:extLst>
          </p:cNvPr>
          <p:cNvSpPr>
            <a:spLocks noGrp="1"/>
          </p:cNvSpPr>
          <p:nvPr>
            <p:ph type="title"/>
          </p:nvPr>
        </p:nvSpPr>
        <p:spPr>
          <a:xfrm>
            <a:off x="479425" y="604203"/>
            <a:ext cx="2860489" cy="1448117"/>
          </a:xfrm>
        </p:spPr>
        <p:txBody>
          <a:bodyPr/>
          <a:lstStyle/>
          <a:p>
            <a:r>
              <a:rPr lang="en-US"/>
              <a:t>Click to edit Master title style</a:t>
            </a:r>
            <a:endParaRPr lang="en-AU"/>
          </a:p>
        </p:txBody>
      </p:sp>
      <p:sp>
        <p:nvSpPr>
          <p:cNvPr id="31" name="Content Placeholder 2">
            <a:extLst>
              <a:ext uri="{FF2B5EF4-FFF2-40B4-BE49-F238E27FC236}">
                <a16:creationId xmlns:a16="http://schemas.microsoft.com/office/drawing/2014/main" id="{F0FDF060-A1E1-9E4A-8CD3-D13C22D6F4E4}"/>
              </a:ext>
            </a:extLst>
          </p:cNvPr>
          <p:cNvSpPr>
            <a:spLocks noGrp="1"/>
          </p:cNvSpPr>
          <p:nvPr>
            <p:ph idx="1"/>
          </p:nvPr>
        </p:nvSpPr>
        <p:spPr>
          <a:xfrm>
            <a:off x="479426" y="2097088"/>
            <a:ext cx="2851603" cy="3960812"/>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ext Placeholder 10">
            <a:extLst>
              <a:ext uri="{FF2B5EF4-FFF2-40B4-BE49-F238E27FC236}">
                <a16:creationId xmlns:a16="http://schemas.microsoft.com/office/drawing/2014/main" id="{0A2DD6D3-0DD0-96B2-30E8-B955E5AFD0C6}"/>
              </a:ext>
            </a:extLst>
          </p:cNvPr>
          <p:cNvSpPr>
            <a:spLocks noGrp="1"/>
          </p:cNvSpPr>
          <p:nvPr>
            <p:ph type="body" sz="quarter" idx="33"/>
          </p:nvPr>
        </p:nvSpPr>
        <p:spPr>
          <a:xfrm>
            <a:off x="4809388" y="628049"/>
            <a:ext cx="6903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 name="Text Placeholder 10">
            <a:extLst>
              <a:ext uri="{FF2B5EF4-FFF2-40B4-BE49-F238E27FC236}">
                <a16:creationId xmlns:a16="http://schemas.microsoft.com/office/drawing/2014/main" id="{A8DF2ECC-3A90-9A18-A2E8-A6063F2FADEF}"/>
              </a:ext>
            </a:extLst>
          </p:cNvPr>
          <p:cNvSpPr>
            <a:spLocks noGrp="1"/>
          </p:cNvSpPr>
          <p:nvPr>
            <p:ph type="body" sz="quarter" idx="36"/>
          </p:nvPr>
        </p:nvSpPr>
        <p:spPr>
          <a:xfrm>
            <a:off x="4809388" y="1673618"/>
            <a:ext cx="6903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4" name="Text Placeholder 10">
            <a:extLst>
              <a:ext uri="{FF2B5EF4-FFF2-40B4-BE49-F238E27FC236}">
                <a16:creationId xmlns:a16="http://schemas.microsoft.com/office/drawing/2014/main" id="{449B0152-3939-E8E7-DD35-963C0FD1F7C9}"/>
              </a:ext>
            </a:extLst>
          </p:cNvPr>
          <p:cNvSpPr>
            <a:spLocks noGrp="1"/>
          </p:cNvSpPr>
          <p:nvPr>
            <p:ph type="body" sz="quarter" idx="37"/>
          </p:nvPr>
        </p:nvSpPr>
        <p:spPr>
          <a:xfrm>
            <a:off x="4809388" y="2719187"/>
            <a:ext cx="6903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5" name="Text Placeholder 10">
            <a:extLst>
              <a:ext uri="{FF2B5EF4-FFF2-40B4-BE49-F238E27FC236}">
                <a16:creationId xmlns:a16="http://schemas.microsoft.com/office/drawing/2014/main" id="{9FD8CF15-B11E-9A4A-B73A-53704257FC4A}"/>
              </a:ext>
            </a:extLst>
          </p:cNvPr>
          <p:cNvSpPr>
            <a:spLocks noGrp="1"/>
          </p:cNvSpPr>
          <p:nvPr>
            <p:ph type="body" sz="quarter" idx="38"/>
          </p:nvPr>
        </p:nvSpPr>
        <p:spPr>
          <a:xfrm>
            <a:off x="4809388" y="3764756"/>
            <a:ext cx="6903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7" name="Picture Placeholder 5">
            <a:extLst>
              <a:ext uri="{FF2B5EF4-FFF2-40B4-BE49-F238E27FC236}">
                <a16:creationId xmlns:a16="http://schemas.microsoft.com/office/drawing/2014/main" id="{C8E59874-D487-84B2-792D-6F7FD81D85FD}"/>
              </a:ext>
            </a:extLst>
          </p:cNvPr>
          <p:cNvSpPr>
            <a:spLocks noGrp="1"/>
          </p:cNvSpPr>
          <p:nvPr>
            <p:ph type="pic" sz="quarter" idx="39"/>
          </p:nvPr>
        </p:nvSpPr>
        <p:spPr>
          <a:xfrm>
            <a:off x="4287389" y="628049"/>
            <a:ext cx="522000" cy="522000"/>
          </a:xfrm>
        </p:spPr>
        <p:txBody>
          <a:bodyPr/>
          <a:lstStyle>
            <a:lvl1pPr>
              <a:defRPr sz="800"/>
            </a:lvl1pPr>
          </a:lstStyle>
          <a:p>
            <a:r>
              <a:rPr lang="en-US"/>
              <a:t>Click icon to add picture</a:t>
            </a:r>
            <a:endParaRPr lang="en-GB"/>
          </a:p>
        </p:txBody>
      </p:sp>
      <p:sp>
        <p:nvSpPr>
          <p:cNvPr id="9" name="Picture Placeholder 5">
            <a:extLst>
              <a:ext uri="{FF2B5EF4-FFF2-40B4-BE49-F238E27FC236}">
                <a16:creationId xmlns:a16="http://schemas.microsoft.com/office/drawing/2014/main" id="{86389DB5-439E-A5B3-F90E-37371B1AE4B3}"/>
              </a:ext>
            </a:extLst>
          </p:cNvPr>
          <p:cNvSpPr>
            <a:spLocks noGrp="1"/>
          </p:cNvSpPr>
          <p:nvPr>
            <p:ph type="pic" sz="quarter" idx="40"/>
          </p:nvPr>
        </p:nvSpPr>
        <p:spPr>
          <a:xfrm>
            <a:off x="4287389" y="1673618"/>
            <a:ext cx="522000" cy="522000"/>
          </a:xfrm>
        </p:spPr>
        <p:txBody>
          <a:bodyPr/>
          <a:lstStyle>
            <a:lvl1pPr>
              <a:defRPr sz="800"/>
            </a:lvl1pPr>
          </a:lstStyle>
          <a:p>
            <a:r>
              <a:rPr lang="en-US"/>
              <a:t>Click icon to add picture</a:t>
            </a:r>
            <a:endParaRPr lang="en-GB"/>
          </a:p>
        </p:txBody>
      </p:sp>
      <p:sp>
        <p:nvSpPr>
          <p:cNvPr id="10" name="Picture Placeholder 5">
            <a:extLst>
              <a:ext uri="{FF2B5EF4-FFF2-40B4-BE49-F238E27FC236}">
                <a16:creationId xmlns:a16="http://schemas.microsoft.com/office/drawing/2014/main" id="{689BD7CA-A635-5E0B-D8D1-2FA87B52F1D8}"/>
              </a:ext>
            </a:extLst>
          </p:cNvPr>
          <p:cNvSpPr>
            <a:spLocks noGrp="1"/>
          </p:cNvSpPr>
          <p:nvPr>
            <p:ph type="pic" sz="quarter" idx="41"/>
          </p:nvPr>
        </p:nvSpPr>
        <p:spPr>
          <a:xfrm>
            <a:off x="4287389" y="2719187"/>
            <a:ext cx="522000" cy="522000"/>
          </a:xfrm>
        </p:spPr>
        <p:txBody>
          <a:bodyPr/>
          <a:lstStyle>
            <a:lvl1pPr>
              <a:defRPr sz="800"/>
            </a:lvl1pPr>
          </a:lstStyle>
          <a:p>
            <a:r>
              <a:rPr lang="en-US"/>
              <a:t>Click icon to add picture</a:t>
            </a:r>
            <a:endParaRPr lang="en-GB"/>
          </a:p>
        </p:txBody>
      </p:sp>
      <p:sp>
        <p:nvSpPr>
          <p:cNvPr id="14" name="Picture Placeholder 5">
            <a:extLst>
              <a:ext uri="{FF2B5EF4-FFF2-40B4-BE49-F238E27FC236}">
                <a16:creationId xmlns:a16="http://schemas.microsoft.com/office/drawing/2014/main" id="{EC6FAD8F-77EE-6EB6-DB3D-C72E4086A4EE}"/>
              </a:ext>
            </a:extLst>
          </p:cNvPr>
          <p:cNvSpPr>
            <a:spLocks noGrp="1"/>
          </p:cNvSpPr>
          <p:nvPr>
            <p:ph type="pic" sz="quarter" idx="49"/>
          </p:nvPr>
        </p:nvSpPr>
        <p:spPr>
          <a:xfrm>
            <a:off x="4287389" y="3764756"/>
            <a:ext cx="522000" cy="522000"/>
          </a:xfrm>
        </p:spPr>
        <p:txBody>
          <a:bodyPr/>
          <a:lstStyle>
            <a:lvl1pPr>
              <a:defRPr sz="800"/>
            </a:lvl1pPr>
          </a:lstStyle>
          <a:p>
            <a:r>
              <a:rPr lang="en-US"/>
              <a:t>Click icon to add picture</a:t>
            </a:r>
            <a:endParaRPr lang="en-GB"/>
          </a:p>
        </p:txBody>
      </p:sp>
      <p:sp>
        <p:nvSpPr>
          <p:cNvPr id="17" name="Text Placeholder 10">
            <a:extLst>
              <a:ext uri="{FF2B5EF4-FFF2-40B4-BE49-F238E27FC236}">
                <a16:creationId xmlns:a16="http://schemas.microsoft.com/office/drawing/2014/main" id="{E11BF719-7F71-37E9-B2B5-AA1415A65916}"/>
              </a:ext>
            </a:extLst>
          </p:cNvPr>
          <p:cNvSpPr>
            <a:spLocks noGrp="1"/>
          </p:cNvSpPr>
          <p:nvPr>
            <p:ph type="body" sz="quarter" idx="50"/>
          </p:nvPr>
        </p:nvSpPr>
        <p:spPr>
          <a:xfrm>
            <a:off x="4809388" y="4810323"/>
            <a:ext cx="6903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0" name="Picture Placeholder 5">
            <a:extLst>
              <a:ext uri="{FF2B5EF4-FFF2-40B4-BE49-F238E27FC236}">
                <a16:creationId xmlns:a16="http://schemas.microsoft.com/office/drawing/2014/main" id="{2C0E62BF-EA76-4833-AA8D-E900A1551664}"/>
              </a:ext>
            </a:extLst>
          </p:cNvPr>
          <p:cNvSpPr>
            <a:spLocks noGrp="1"/>
          </p:cNvSpPr>
          <p:nvPr>
            <p:ph type="pic" sz="quarter" idx="51"/>
          </p:nvPr>
        </p:nvSpPr>
        <p:spPr>
          <a:xfrm>
            <a:off x="4287389" y="4810323"/>
            <a:ext cx="522000" cy="522000"/>
          </a:xfrm>
        </p:spPr>
        <p:txBody>
          <a:bodyPr/>
          <a:lstStyle>
            <a:lvl1pPr>
              <a:defRPr sz="800"/>
            </a:lvl1pPr>
          </a:lstStyle>
          <a:p>
            <a:r>
              <a:rPr lang="en-US"/>
              <a:t>Click icon to add picture</a:t>
            </a:r>
            <a:endParaRPr lang="en-GB"/>
          </a:p>
        </p:txBody>
      </p:sp>
      <p:sp>
        <p:nvSpPr>
          <p:cNvPr id="6" name="Footer Placeholder 4">
            <a:extLst>
              <a:ext uri="{FF2B5EF4-FFF2-40B4-BE49-F238E27FC236}">
                <a16:creationId xmlns:a16="http://schemas.microsoft.com/office/drawing/2014/main" id="{530F742C-6397-9A09-C8F8-118F551BB8B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1436978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 key points_image">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6E61FC17-476D-8A97-BD44-FB163DDA486B}"/>
              </a:ext>
            </a:extLst>
          </p:cNvPr>
          <p:cNvSpPr>
            <a:spLocks noGrp="1"/>
          </p:cNvSpPr>
          <p:nvPr>
            <p:ph type="pic" sz="quarter" idx="34" hasCustomPrompt="1"/>
          </p:nvPr>
        </p:nvSpPr>
        <p:spPr>
          <a:xfrm>
            <a:off x="-1" y="138818"/>
            <a:ext cx="4263887" cy="6719182"/>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9" name="Slide Number Placeholder 5">
            <a:extLst>
              <a:ext uri="{FF2B5EF4-FFF2-40B4-BE49-F238E27FC236}">
                <a16:creationId xmlns:a16="http://schemas.microsoft.com/office/drawing/2014/main" id="{EDFFE9B2-E508-929C-9D48-1D94360F7A04}"/>
              </a:ext>
            </a:extLst>
          </p:cNvPr>
          <p:cNvSpPr>
            <a:spLocks noGrp="1"/>
          </p:cNvSpPr>
          <p:nvPr>
            <p:ph type="sldNum" sz="quarter" idx="35"/>
          </p:nvPr>
        </p:nvSpPr>
        <p:spPr>
          <a:xfrm>
            <a:off x="479425" y="6339948"/>
            <a:ext cx="173038" cy="169200"/>
          </a:xfrm>
        </p:spPr>
        <p:txBody>
          <a:bodyPr/>
          <a:lstStyle>
            <a:lvl1pPr>
              <a:defRPr>
                <a:solidFill>
                  <a:schemeClr val="bg2"/>
                </a:solidFill>
              </a:defRPr>
            </a:lvl1pPr>
          </a:lstStyle>
          <a:p>
            <a:fld id="{E4C2AD82-1025-4508-97C1-6F7EE5C92734}" type="slidenum">
              <a:rPr lang="en-AU" smtClean="0"/>
              <a:pPr/>
              <a:t>‹#›</a:t>
            </a:fld>
            <a:endParaRPr lang="en-AU"/>
          </a:p>
        </p:txBody>
      </p:sp>
      <p:sp>
        <p:nvSpPr>
          <p:cNvPr id="28" name="Title 3">
            <a:extLst>
              <a:ext uri="{FF2B5EF4-FFF2-40B4-BE49-F238E27FC236}">
                <a16:creationId xmlns:a16="http://schemas.microsoft.com/office/drawing/2014/main" id="{FAA34CCE-D07C-484E-9CCC-FAA1A6EDBE64}"/>
              </a:ext>
            </a:extLst>
          </p:cNvPr>
          <p:cNvSpPr>
            <a:spLocks noGrp="1"/>
          </p:cNvSpPr>
          <p:nvPr>
            <p:ph type="title"/>
          </p:nvPr>
        </p:nvSpPr>
        <p:spPr>
          <a:xfrm>
            <a:off x="479425" y="604203"/>
            <a:ext cx="3503295" cy="1448117"/>
          </a:xfrm>
        </p:spPr>
        <p:txBody>
          <a:bodyPr/>
          <a:lstStyle/>
          <a:p>
            <a:r>
              <a:rPr lang="en-US"/>
              <a:t>Click to edit Master title style</a:t>
            </a:r>
            <a:endParaRPr lang="en-AU"/>
          </a:p>
        </p:txBody>
      </p:sp>
      <p:sp>
        <p:nvSpPr>
          <p:cNvPr id="29" name="Content Placeholder 2">
            <a:extLst>
              <a:ext uri="{FF2B5EF4-FFF2-40B4-BE49-F238E27FC236}">
                <a16:creationId xmlns:a16="http://schemas.microsoft.com/office/drawing/2014/main" id="{5D56C4C8-4E91-D04F-857F-B3E3E0E8C257}"/>
              </a:ext>
            </a:extLst>
          </p:cNvPr>
          <p:cNvSpPr>
            <a:spLocks noGrp="1"/>
          </p:cNvSpPr>
          <p:nvPr>
            <p:ph idx="1"/>
          </p:nvPr>
        </p:nvSpPr>
        <p:spPr>
          <a:xfrm>
            <a:off x="479426" y="2097088"/>
            <a:ext cx="3492412" cy="3960812"/>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ext Placeholder 10">
            <a:extLst>
              <a:ext uri="{FF2B5EF4-FFF2-40B4-BE49-F238E27FC236}">
                <a16:creationId xmlns:a16="http://schemas.microsoft.com/office/drawing/2014/main" id="{E4E3B4DE-340D-6797-EF95-8A58829439A7}"/>
              </a:ext>
            </a:extLst>
          </p:cNvPr>
          <p:cNvSpPr>
            <a:spLocks noGrp="1"/>
          </p:cNvSpPr>
          <p:nvPr>
            <p:ph type="body" sz="quarter" idx="33"/>
          </p:nvPr>
        </p:nvSpPr>
        <p:spPr>
          <a:xfrm>
            <a:off x="5338521" y="628049"/>
            <a:ext cx="6381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 name="Text Placeholder 10">
            <a:extLst>
              <a:ext uri="{FF2B5EF4-FFF2-40B4-BE49-F238E27FC236}">
                <a16:creationId xmlns:a16="http://schemas.microsoft.com/office/drawing/2014/main" id="{9BD006F6-FF8D-534A-F789-CEB89C78FAE1}"/>
              </a:ext>
            </a:extLst>
          </p:cNvPr>
          <p:cNvSpPr>
            <a:spLocks noGrp="1"/>
          </p:cNvSpPr>
          <p:nvPr>
            <p:ph type="body" sz="quarter" idx="36"/>
          </p:nvPr>
        </p:nvSpPr>
        <p:spPr>
          <a:xfrm>
            <a:off x="5338521" y="1673618"/>
            <a:ext cx="6381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4" name="Text Placeholder 10">
            <a:extLst>
              <a:ext uri="{FF2B5EF4-FFF2-40B4-BE49-F238E27FC236}">
                <a16:creationId xmlns:a16="http://schemas.microsoft.com/office/drawing/2014/main" id="{45943B8F-8C68-10D4-5639-0942D24449E7}"/>
              </a:ext>
            </a:extLst>
          </p:cNvPr>
          <p:cNvSpPr>
            <a:spLocks noGrp="1"/>
          </p:cNvSpPr>
          <p:nvPr>
            <p:ph type="body" sz="quarter" idx="37"/>
          </p:nvPr>
        </p:nvSpPr>
        <p:spPr>
          <a:xfrm>
            <a:off x="5338521" y="2719187"/>
            <a:ext cx="6381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7" name="Text Placeholder 10">
            <a:extLst>
              <a:ext uri="{FF2B5EF4-FFF2-40B4-BE49-F238E27FC236}">
                <a16:creationId xmlns:a16="http://schemas.microsoft.com/office/drawing/2014/main" id="{16EB83FD-70A7-8A05-931F-1D0A36C9B3DB}"/>
              </a:ext>
            </a:extLst>
          </p:cNvPr>
          <p:cNvSpPr>
            <a:spLocks noGrp="1"/>
          </p:cNvSpPr>
          <p:nvPr>
            <p:ph type="body" sz="quarter" idx="38"/>
          </p:nvPr>
        </p:nvSpPr>
        <p:spPr>
          <a:xfrm>
            <a:off x="5338521" y="3764756"/>
            <a:ext cx="6381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8" name="Picture Placeholder 5">
            <a:extLst>
              <a:ext uri="{FF2B5EF4-FFF2-40B4-BE49-F238E27FC236}">
                <a16:creationId xmlns:a16="http://schemas.microsoft.com/office/drawing/2014/main" id="{3749FCD2-C080-00AF-444B-14C0B06B75B0}"/>
              </a:ext>
            </a:extLst>
          </p:cNvPr>
          <p:cNvSpPr>
            <a:spLocks noGrp="1"/>
          </p:cNvSpPr>
          <p:nvPr>
            <p:ph type="pic" sz="quarter" idx="39"/>
          </p:nvPr>
        </p:nvSpPr>
        <p:spPr>
          <a:xfrm>
            <a:off x="4816521" y="628049"/>
            <a:ext cx="522000" cy="522000"/>
          </a:xfrm>
        </p:spPr>
        <p:txBody>
          <a:bodyPr/>
          <a:lstStyle>
            <a:lvl1pPr>
              <a:defRPr sz="800"/>
            </a:lvl1pPr>
          </a:lstStyle>
          <a:p>
            <a:r>
              <a:rPr lang="en-US"/>
              <a:t>Click icon to add picture</a:t>
            </a:r>
            <a:endParaRPr lang="en-GB"/>
          </a:p>
        </p:txBody>
      </p:sp>
      <p:sp>
        <p:nvSpPr>
          <p:cNvPr id="10" name="Picture Placeholder 5">
            <a:extLst>
              <a:ext uri="{FF2B5EF4-FFF2-40B4-BE49-F238E27FC236}">
                <a16:creationId xmlns:a16="http://schemas.microsoft.com/office/drawing/2014/main" id="{895B4B7C-A627-5A5A-B6E1-887B5D033577}"/>
              </a:ext>
            </a:extLst>
          </p:cNvPr>
          <p:cNvSpPr>
            <a:spLocks noGrp="1"/>
          </p:cNvSpPr>
          <p:nvPr>
            <p:ph type="pic" sz="quarter" idx="40"/>
          </p:nvPr>
        </p:nvSpPr>
        <p:spPr>
          <a:xfrm>
            <a:off x="4816521" y="1673618"/>
            <a:ext cx="522000" cy="522000"/>
          </a:xfrm>
        </p:spPr>
        <p:txBody>
          <a:bodyPr/>
          <a:lstStyle>
            <a:lvl1pPr>
              <a:defRPr sz="800"/>
            </a:lvl1pPr>
          </a:lstStyle>
          <a:p>
            <a:r>
              <a:rPr lang="en-US"/>
              <a:t>Click icon to add picture</a:t>
            </a:r>
            <a:endParaRPr lang="en-GB"/>
          </a:p>
        </p:txBody>
      </p:sp>
      <p:sp>
        <p:nvSpPr>
          <p:cNvPr id="11" name="Picture Placeholder 5">
            <a:extLst>
              <a:ext uri="{FF2B5EF4-FFF2-40B4-BE49-F238E27FC236}">
                <a16:creationId xmlns:a16="http://schemas.microsoft.com/office/drawing/2014/main" id="{CA58FAFF-0FC4-E7D4-2A61-8CA785355013}"/>
              </a:ext>
            </a:extLst>
          </p:cNvPr>
          <p:cNvSpPr>
            <a:spLocks noGrp="1"/>
          </p:cNvSpPr>
          <p:nvPr>
            <p:ph type="pic" sz="quarter" idx="41"/>
          </p:nvPr>
        </p:nvSpPr>
        <p:spPr>
          <a:xfrm>
            <a:off x="4816521" y="2719187"/>
            <a:ext cx="522000" cy="522000"/>
          </a:xfrm>
        </p:spPr>
        <p:txBody>
          <a:bodyPr/>
          <a:lstStyle>
            <a:lvl1pPr>
              <a:defRPr sz="800"/>
            </a:lvl1pPr>
          </a:lstStyle>
          <a:p>
            <a:r>
              <a:rPr lang="en-US"/>
              <a:t>Click icon to add picture</a:t>
            </a:r>
            <a:endParaRPr lang="en-GB"/>
          </a:p>
        </p:txBody>
      </p:sp>
      <p:sp>
        <p:nvSpPr>
          <p:cNvPr id="12" name="Picture Placeholder 5">
            <a:extLst>
              <a:ext uri="{FF2B5EF4-FFF2-40B4-BE49-F238E27FC236}">
                <a16:creationId xmlns:a16="http://schemas.microsoft.com/office/drawing/2014/main" id="{CC383DEE-3A24-D413-733E-9B9627DE1132}"/>
              </a:ext>
            </a:extLst>
          </p:cNvPr>
          <p:cNvSpPr>
            <a:spLocks noGrp="1"/>
          </p:cNvSpPr>
          <p:nvPr>
            <p:ph type="pic" sz="quarter" idx="49"/>
          </p:nvPr>
        </p:nvSpPr>
        <p:spPr>
          <a:xfrm>
            <a:off x="4816521" y="3764756"/>
            <a:ext cx="522000" cy="522000"/>
          </a:xfrm>
        </p:spPr>
        <p:txBody>
          <a:bodyPr/>
          <a:lstStyle>
            <a:lvl1pPr>
              <a:defRPr sz="800"/>
            </a:lvl1pPr>
          </a:lstStyle>
          <a:p>
            <a:r>
              <a:rPr lang="en-US"/>
              <a:t>Click icon to add picture</a:t>
            </a:r>
            <a:endParaRPr lang="en-GB"/>
          </a:p>
        </p:txBody>
      </p:sp>
      <p:sp>
        <p:nvSpPr>
          <p:cNvPr id="13" name="Text Placeholder 10">
            <a:extLst>
              <a:ext uri="{FF2B5EF4-FFF2-40B4-BE49-F238E27FC236}">
                <a16:creationId xmlns:a16="http://schemas.microsoft.com/office/drawing/2014/main" id="{D679FD80-4A90-7C91-FC75-E7564CD267CA}"/>
              </a:ext>
            </a:extLst>
          </p:cNvPr>
          <p:cNvSpPr>
            <a:spLocks noGrp="1"/>
          </p:cNvSpPr>
          <p:nvPr>
            <p:ph type="body" sz="quarter" idx="50"/>
          </p:nvPr>
        </p:nvSpPr>
        <p:spPr>
          <a:xfrm>
            <a:off x="5338521" y="4810323"/>
            <a:ext cx="6381186" cy="898040"/>
          </a:xfrm>
          <a:noFill/>
        </p:spPr>
        <p:txBody>
          <a:bodyPr lIns="25200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14" name="Picture Placeholder 5">
            <a:extLst>
              <a:ext uri="{FF2B5EF4-FFF2-40B4-BE49-F238E27FC236}">
                <a16:creationId xmlns:a16="http://schemas.microsoft.com/office/drawing/2014/main" id="{7E817539-636C-D15E-0C5A-6A186EA99ED7}"/>
              </a:ext>
            </a:extLst>
          </p:cNvPr>
          <p:cNvSpPr>
            <a:spLocks noGrp="1"/>
          </p:cNvSpPr>
          <p:nvPr>
            <p:ph type="pic" sz="quarter" idx="51"/>
          </p:nvPr>
        </p:nvSpPr>
        <p:spPr>
          <a:xfrm>
            <a:off x="4816521" y="4810323"/>
            <a:ext cx="522000" cy="522000"/>
          </a:xfrm>
        </p:spPr>
        <p:txBody>
          <a:bodyPr/>
          <a:lstStyle>
            <a:lvl1pPr>
              <a:defRPr sz="800"/>
            </a:lvl1pPr>
          </a:lstStyle>
          <a:p>
            <a:r>
              <a:rPr lang="en-US"/>
              <a:t>Click icon to add picture</a:t>
            </a:r>
            <a:endParaRPr lang="en-GB"/>
          </a:p>
        </p:txBody>
      </p:sp>
      <p:sp>
        <p:nvSpPr>
          <p:cNvPr id="15" name="Footer Placeholder 4">
            <a:extLst>
              <a:ext uri="{FF2B5EF4-FFF2-40B4-BE49-F238E27FC236}">
                <a16:creationId xmlns:a16="http://schemas.microsoft.com/office/drawing/2014/main" id="{41FC001F-3CFC-E2E6-C880-8EDFDE3C860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6947246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key points + images">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6AEF0995-26CE-99A3-3325-282CAD29B916}"/>
              </a:ext>
            </a:extLst>
          </p:cNvPr>
          <p:cNvSpPr>
            <a:spLocks noGrp="1"/>
          </p:cNvSpPr>
          <p:nvPr>
            <p:ph type="title"/>
          </p:nvPr>
        </p:nvSpPr>
        <p:spPr/>
        <p:txBody>
          <a:bodyPr/>
          <a:lstStyle>
            <a:lvl1pPr algn="l">
              <a:defRPr>
                <a:solidFill>
                  <a:schemeClr val="tx1"/>
                </a:solidFill>
              </a:defRPr>
            </a:lvl1p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74D9771C-DEED-99F5-8E58-D85E4D981C4B}"/>
              </a:ext>
            </a:extLst>
          </p:cNvPr>
          <p:cNvSpPr>
            <a:spLocks noGrp="1"/>
          </p:cNvSpPr>
          <p:nvPr>
            <p:ph type="sldNum" sz="quarter" idx="28"/>
          </p:nvPr>
        </p:nvSpPr>
        <p:spPr/>
        <p:txBody>
          <a:bodyPr/>
          <a:lstStyle/>
          <a:p>
            <a:fld id="{E4C2AD82-1025-4508-97C1-6F7EE5C92734}" type="slidenum">
              <a:rPr lang="en-AU" smtClean="0"/>
              <a:pPr/>
              <a:t>‹#›</a:t>
            </a:fld>
            <a:endParaRPr lang="en-AU"/>
          </a:p>
        </p:txBody>
      </p:sp>
      <p:sp>
        <p:nvSpPr>
          <p:cNvPr id="17" name="Picture Placeholder 10">
            <a:extLst>
              <a:ext uri="{FF2B5EF4-FFF2-40B4-BE49-F238E27FC236}">
                <a16:creationId xmlns:a16="http://schemas.microsoft.com/office/drawing/2014/main" id="{09315C77-4BB6-CB8C-2587-360FCE32FD95}"/>
              </a:ext>
            </a:extLst>
          </p:cNvPr>
          <p:cNvSpPr>
            <a:spLocks noGrp="1"/>
          </p:cNvSpPr>
          <p:nvPr>
            <p:ph type="pic" sz="quarter" idx="34" hasCustomPrompt="1"/>
          </p:nvPr>
        </p:nvSpPr>
        <p:spPr>
          <a:xfrm>
            <a:off x="380032" y="1819564"/>
            <a:ext cx="2483695" cy="2483695"/>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19" name="Text Placeholder 10">
            <a:extLst>
              <a:ext uri="{FF2B5EF4-FFF2-40B4-BE49-F238E27FC236}">
                <a16:creationId xmlns:a16="http://schemas.microsoft.com/office/drawing/2014/main" id="{198A8637-3D24-8B04-366A-8AC09C4E93B1}"/>
              </a:ext>
            </a:extLst>
          </p:cNvPr>
          <p:cNvSpPr>
            <a:spLocks noGrp="1"/>
          </p:cNvSpPr>
          <p:nvPr>
            <p:ph type="body" sz="quarter" idx="26"/>
          </p:nvPr>
        </p:nvSpPr>
        <p:spPr>
          <a:xfrm>
            <a:off x="479426" y="4508339"/>
            <a:ext cx="3312000" cy="1368589"/>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0" name="Text Placeholder 10">
            <a:extLst>
              <a:ext uri="{FF2B5EF4-FFF2-40B4-BE49-F238E27FC236}">
                <a16:creationId xmlns:a16="http://schemas.microsoft.com/office/drawing/2014/main" id="{33404AA1-14D4-153D-064C-A690A7F750E7}"/>
              </a:ext>
            </a:extLst>
          </p:cNvPr>
          <p:cNvSpPr>
            <a:spLocks noGrp="1"/>
          </p:cNvSpPr>
          <p:nvPr>
            <p:ph type="body" sz="quarter" idx="35"/>
          </p:nvPr>
        </p:nvSpPr>
        <p:spPr>
          <a:xfrm>
            <a:off x="4440001" y="4508339"/>
            <a:ext cx="3312000" cy="1368589"/>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4" name="Text Placeholder 10">
            <a:extLst>
              <a:ext uri="{FF2B5EF4-FFF2-40B4-BE49-F238E27FC236}">
                <a16:creationId xmlns:a16="http://schemas.microsoft.com/office/drawing/2014/main" id="{A104AF05-D3DB-286B-2B45-DCA599765895}"/>
              </a:ext>
            </a:extLst>
          </p:cNvPr>
          <p:cNvSpPr>
            <a:spLocks noGrp="1"/>
          </p:cNvSpPr>
          <p:nvPr>
            <p:ph type="body" sz="quarter" idx="38"/>
          </p:nvPr>
        </p:nvSpPr>
        <p:spPr>
          <a:xfrm>
            <a:off x="8400575" y="4508339"/>
            <a:ext cx="3312000" cy="1368589"/>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2" name="Picture Placeholder 10">
            <a:extLst>
              <a:ext uri="{FF2B5EF4-FFF2-40B4-BE49-F238E27FC236}">
                <a16:creationId xmlns:a16="http://schemas.microsoft.com/office/drawing/2014/main" id="{4998BEDE-AE8A-0BD6-4399-2CE9DBE22076}"/>
              </a:ext>
            </a:extLst>
          </p:cNvPr>
          <p:cNvSpPr>
            <a:spLocks noGrp="1"/>
          </p:cNvSpPr>
          <p:nvPr>
            <p:ph type="pic" sz="quarter" idx="39" hasCustomPrompt="1"/>
          </p:nvPr>
        </p:nvSpPr>
        <p:spPr>
          <a:xfrm>
            <a:off x="4386732" y="1819564"/>
            <a:ext cx="2483695" cy="2483695"/>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35" name="Picture Placeholder 10">
            <a:extLst>
              <a:ext uri="{FF2B5EF4-FFF2-40B4-BE49-F238E27FC236}">
                <a16:creationId xmlns:a16="http://schemas.microsoft.com/office/drawing/2014/main" id="{AA58E8AB-B141-19F3-A6FD-3A1D555C7E27}"/>
              </a:ext>
            </a:extLst>
          </p:cNvPr>
          <p:cNvSpPr>
            <a:spLocks noGrp="1"/>
          </p:cNvSpPr>
          <p:nvPr>
            <p:ph type="pic" sz="quarter" idx="41" hasCustomPrompt="1"/>
          </p:nvPr>
        </p:nvSpPr>
        <p:spPr>
          <a:xfrm>
            <a:off x="8244906" y="1819564"/>
            <a:ext cx="2483695" cy="2483695"/>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4" name="Footer Placeholder 4">
            <a:extLst>
              <a:ext uri="{FF2B5EF4-FFF2-40B4-BE49-F238E27FC236}">
                <a16:creationId xmlns:a16="http://schemas.microsoft.com/office/drawing/2014/main" id="{D39A3B98-FDD8-C25A-C3C9-DF178EDF044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640985116"/>
      </p:ext>
    </p:extLst>
  </p:cSld>
  <p:clrMapOvr>
    <a:masterClrMapping/>
  </p:clrMapOvr>
  <p:extLst>
    <p:ext uri="{DCECCB84-F9BA-43D5-87BE-67443E8EF086}">
      <p15:sldGuideLst xmlns:p15="http://schemas.microsoft.com/office/powerpoint/2012/main">
        <p15:guide id="7" pos="2390" userDrawn="1">
          <p15:clr>
            <a:srgbClr val="FBAE40"/>
          </p15:clr>
        </p15:guide>
        <p15:guide id="8" pos="2797" userDrawn="1">
          <p15:clr>
            <a:srgbClr val="FBAE40"/>
          </p15:clr>
        </p15:guide>
        <p15:guide id="9" pos="5292" userDrawn="1">
          <p15:clr>
            <a:srgbClr val="FBAE40"/>
          </p15:clr>
        </p15:guide>
        <p15:guide id="10" pos="4883"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key points + images">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6AEF0995-26CE-99A3-3325-282CAD29B916}"/>
              </a:ext>
            </a:extLst>
          </p:cNvPr>
          <p:cNvSpPr>
            <a:spLocks noGrp="1"/>
          </p:cNvSpPr>
          <p:nvPr>
            <p:ph type="title"/>
          </p:nvPr>
        </p:nvSpPr>
        <p:spPr/>
        <p:txBody>
          <a:bodyPr/>
          <a:lstStyle>
            <a:lvl1pPr algn="l">
              <a:defRPr>
                <a:solidFill>
                  <a:schemeClr val="tx1"/>
                </a:solidFill>
              </a:defRPr>
            </a:lvl1p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74D9771C-DEED-99F5-8E58-D85E4D981C4B}"/>
              </a:ext>
            </a:extLst>
          </p:cNvPr>
          <p:cNvSpPr>
            <a:spLocks noGrp="1"/>
          </p:cNvSpPr>
          <p:nvPr>
            <p:ph type="sldNum" sz="quarter" idx="28"/>
          </p:nvPr>
        </p:nvSpPr>
        <p:spPr/>
        <p:txBody>
          <a:bodyPr/>
          <a:lstStyle/>
          <a:p>
            <a:fld id="{E4C2AD82-1025-4508-97C1-6F7EE5C92734}" type="slidenum">
              <a:rPr lang="en-AU" smtClean="0"/>
              <a:pPr/>
              <a:t>‹#›</a:t>
            </a:fld>
            <a:endParaRPr lang="en-AU"/>
          </a:p>
        </p:txBody>
      </p:sp>
      <p:sp>
        <p:nvSpPr>
          <p:cNvPr id="17" name="Picture Placeholder 10">
            <a:extLst>
              <a:ext uri="{FF2B5EF4-FFF2-40B4-BE49-F238E27FC236}">
                <a16:creationId xmlns:a16="http://schemas.microsoft.com/office/drawing/2014/main" id="{09315C77-4BB6-CB8C-2587-360FCE32FD95}"/>
              </a:ext>
            </a:extLst>
          </p:cNvPr>
          <p:cNvSpPr>
            <a:spLocks noGrp="1"/>
          </p:cNvSpPr>
          <p:nvPr>
            <p:ph type="pic" sz="quarter" idx="34" hasCustomPrompt="1"/>
          </p:nvPr>
        </p:nvSpPr>
        <p:spPr>
          <a:xfrm>
            <a:off x="432696" y="1666684"/>
            <a:ext cx="1910207" cy="1910207"/>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19" name="Text Placeholder 10">
            <a:extLst>
              <a:ext uri="{FF2B5EF4-FFF2-40B4-BE49-F238E27FC236}">
                <a16:creationId xmlns:a16="http://schemas.microsoft.com/office/drawing/2014/main" id="{198A8637-3D24-8B04-366A-8AC09C4E93B1}"/>
              </a:ext>
            </a:extLst>
          </p:cNvPr>
          <p:cNvSpPr>
            <a:spLocks noGrp="1"/>
          </p:cNvSpPr>
          <p:nvPr>
            <p:ph type="body" sz="quarter" idx="26"/>
          </p:nvPr>
        </p:nvSpPr>
        <p:spPr>
          <a:xfrm>
            <a:off x="479425" y="3855720"/>
            <a:ext cx="2592000" cy="202120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0" name="Text Placeholder 10">
            <a:extLst>
              <a:ext uri="{FF2B5EF4-FFF2-40B4-BE49-F238E27FC236}">
                <a16:creationId xmlns:a16="http://schemas.microsoft.com/office/drawing/2014/main" id="{33404AA1-14D4-153D-064C-A690A7F750E7}"/>
              </a:ext>
            </a:extLst>
          </p:cNvPr>
          <p:cNvSpPr>
            <a:spLocks noGrp="1"/>
          </p:cNvSpPr>
          <p:nvPr>
            <p:ph type="body" sz="quarter" idx="35"/>
          </p:nvPr>
        </p:nvSpPr>
        <p:spPr>
          <a:xfrm>
            <a:off x="3359809" y="3855720"/>
            <a:ext cx="2592000" cy="202120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1" name="Text Placeholder 10">
            <a:extLst>
              <a:ext uri="{FF2B5EF4-FFF2-40B4-BE49-F238E27FC236}">
                <a16:creationId xmlns:a16="http://schemas.microsoft.com/office/drawing/2014/main" id="{67724A6F-3557-AD3B-E97B-29A0D0FBAF9C}"/>
              </a:ext>
            </a:extLst>
          </p:cNvPr>
          <p:cNvSpPr>
            <a:spLocks noGrp="1"/>
          </p:cNvSpPr>
          <p:nvPr>
            <p:ph type="body" sz="quarter" idx="36"/>
          </p:nvPr>
        </p:nvSpPr>
        <p:spPr>
          <a:xfrm>
            <a:off x="6240104" y="3855720"/>
            <a:ext cx="2592000" cy="202120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4" name="Text Placeholder 10">
            <a:extLst>
              <a:ext uri="{FF2B5EF4-FFF2-40B4-BE49-F238E27FC236}">
                <a16:creationId xmlns:a16="http://schemas.microsoft.com/office/drawing/2014/main" id="{A104AF05-D3DB-286B-2B45-DCA599765895}"/>
              </a:ext>
            </a:extLst>
          </p:cNvPr>
          <p:cNvSpPr>
            <a:spLocks noGrp="1"/>
          </p:cNvSpPr>
          <p:nvPr>
            <p:ph type="body" sz="quarter" idx="38"/>
          </p:nvPr>
        </p:nvSpPr>
        <p:spPr>
          <a:xfrm>
            <a:off x="9120455" y="3855720"/>
            <a:ext cx="2592000" cy="2021208"/>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2" name="Picture Placeholder 10">
            <a:extLst>
              <a:ext uri="{FF2B5EF4-FFF2-40B4-BE49-F238E27FC236}">
                <a16:creationId xmlns:a16="http://schemas.microsoft.com/office/drawing/2014/main" id="{4998BEDE-AE8A-0BD6-4399-2CE9DBE22076}"/>
              </a:ext>
            </a:extLst>
          </p:cNvPr>
          <p:cNvSpPr>
            <a:spLocks noGrp="1"/>
          </p:cNvSpPr>
          <p:nvPr>
            <p:ph type="pic" sz="quarter" idx="39" hasCustomPrompt="1"/>
          </p:nvPr>
        </p:nvSpPr>
        <p:spPr>
          <a:xfrm>
            <a:off x="3269970" y="1666684"/>
            <a:ext cx="1910207" cy="1910207"/>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34" name="Picture Placeholder 10">
            <a:extLst>
              <a:ext uri="{FF2B5EF4-FFF2-40B4-BE49-F238E27FC236}">
                <a16:creationId xmlns:a16="http://schemas.microsoft.com/office/drawing/2014/main" id="{515D4947-A731-EF0C-D51A-939B3097B9EA}"/>
              </a:ext>
            </a:extLst>
          </p:cNvPr>
          <p:cNvSpPr>
            <a:spLocks noGrp="1"/>
          </p:cNvSpPr>
          <p:nvPr>
            <p:ph type="pic" sz="quarter" idx="40" hasCustomPrompt="1"/>
          </p:nvPr>
        </p:nvSpPr>
        <p:spPr>
          <a:xfrm>
            <a:off x="6107244" y="1666684"/>
            <a:ext cx="1910207" cy="1910207"/>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35" name="Picture Placeholder 10">
            <a:extLst>
              <a:ext uri="{FF2B5EF4-FFF2-40B4-BE49-F238E27FC236}">
                <a16:creationId xmlns:a16="http://schemas.microsoft.com/office/drawing/2014/main" id="{AA58E8AB-B141-19F3-A6FD-3A1D555C7E27}"/>
              </a:ext>
            </a:extLst>
          </p:cNvPr>
          <p:cNvSpPr>
            <a:spLocks noGrp="1"/>
          </p:cNvSpPr>
          <p:nvPr>
            <p:ph type="pic" sz="quarter" idx="41" hasCustomPrompt="1"/>
          </p:nvPr>
        </p:nvSpPr>
        <p:spPr>
          <a:xfrm>
            <a:off x="8944517" y="1666684"/>
            <a:ext cx="1910207" cy="1910207"/>
          </a:xfrm>
          <a:prstGeom prst="ellipse">
            <a:avLst/>
          </a:prstGeom>
          <a:solidFill>
            <a:schemeClr val="bg1">
              <a:lumMod val="95000"/>
            </a:schemeClr>
          </a:solidFill>
        </p:spPr>
        <p:txBody>
          <a:bodyPr wrap="square" lIns="0" rIns="0" anchor="b" anchorCtr="1">
            <a:noAutofit/>
          </a:bodyPr>
          <a:lstStyle>
            <a:lvl1pPr algn="ctr">
              <a:defRPr/>
            </a:lvl1pPr>
          </a:lstStyle>
          <a:p>
            <a:r>
              <a:rPr lang="en-AU"/>
              <a:t>Click on icon to insert image</a:t>
            </a:r>
          </a:p>
        </p:txBody>
      </p:sp>
      <p:sp>
        <p:nvSpPr>
          <p:cNvPr id="4" name="Footer Placeholder 4">
            <a:extLst>
              <a:ext uri="{FF2B5EF4-FFF2-40B4-BE49-F238E27FC236}">
                <a16:creationId xmlns:a16="http://schemas.microsoft.com/office/drawing/2014/main" id="{6753A07F-4C07-3AA4-626F-FC75D91231A7}"/>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017737169"/>
      </p:ext>
    </p:extLst>
  </p:cSld>
  <p:clrMapOvr>
    <a:masterClrMapping/>
  </p:clrMapOvr>
  <p:extLst>
    <p:ext uri="{DCECCB84-F9BA-43D5-87BE-67443E8EF086}">
      <p15:sldGuideLst xmlns:p15="http://schemas.microsoft.com/office/powerpoint/2012/main">
        <p15:guide id="7" pos="1938" userDrawn="1">
          <p15:clr>
            <a:srgbClr val="FBAE40"/>
          </p15:clr>
        </p15:guide>
        <p15:guide id="8" pos="2117" userDrawn="1">
          <p15:clr>
            <a:srgbClr val="FBAE40"/>
          </p15:clr>
        </p15:guide>
        <p15:guide id="9" pos="3752" userDrawn="1">
          <p15:clr>
            <a:srgbClr val="FBAE40"/>
          </p15:clr>
        </p15:guide>
        <p15:guide id="10" pos="3936" userDrawn="1">
          <p15:clr>
            <a:srgbClr val="FBAE40"/>
          </p15:clr>
        </p15:guide>
        <p15:guide id="11" pos="5571" userDrawn="1">
          <p15:clr>
            <a:srgbClr val="FBAE40"/>
          </p15:clr>
        </p15:guide>
        <p15:guide id="12" pos="5740"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key points colour_image top">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D38BFAA-B20C-8D78-163E-1695453E5DA6}"/>
              </a:ext>
            </a:extLst>
          </p:cNvPr>
          <p:cNvSpPr>
            <a:spLocks noGrp="1"/>
          </p:cNvSpPr>
          <p:nvPr>
            <p:ph type="pic" sz="quarter" idx="15" hasCustomPrompt="1"/>
          </p:nvPr>
        </p:nvSpPr>
        <p:spPr>
          <a:xfrm>
            <a:off x="0" y="139148"/>
            <a:ext cx="12192000" cy="2713382"/>
          </a:xfrm>
          <a:custGeom>
            <a:avLst/>
            <a:gdLst>
              <a:gd name="connsiteX0" fmla="*/ 0 w 12192000"/>
              <a:gd name="connsiteY0" fmla="*/ 0 h 3683000"/>
              <a:gd name="connsiteX1" fmla="*/ 12192000 w 12192000"/>
              <a:gd name="connsiteY1" fmla="*/ 0 h 3683000"/>
              <a:gd name="connsiteX2" fmla="*/ 12192000 w 12192000"/>
              <a:gd name="connsiteY2" fmla="*/ 3683000 h 3683000"/>
              <a:gd name="connsiteX3" fmla="*/ 0 w 12192000"/>
              <a:gd name="connsiteY3" fmla="*/ 3683000 h 3683000"/>
            </a:gdLst>
            <a:ahLst/>
            <a:cxnLst>
              <a:cxn ang="0">
                <a:pos x="connsiteX0" y="connsiteY0"/>
              </a:cxn>
              <a:cxn ang="0">
                <a:pos x="connsiteX1" y="connsiteY1"/>
              </a:cxn>
              <a:cxn ang="0">
                <a:pos x="connsiteX2" y="connsiteY2"/>
              </a:cxn>
              <a:cxn ang="0">
                <a:pos x="connsiteX3" y="connsiteY3"/>
              </a:cxn>
            </a:cxnLst>
            <a:rect l="l" t="t" r="r" b="b"/>
            <a:pathLst>
              <a:path w="12192000" h="3683000">
                <a:moveTo>
                  <a:pt x="0" y="0"/>
                </a:moveTo>
                <a:lnTo>
                  <a:pt x="12192000" y="0"/>
                </a:lnTo>
                <a:lnTo>
                  <a:pt x="12192000" y="3683000"/>
                </a:lnTo>
                <a:lnTo>
                  <a:pt x="0" y="3683000"/>
                </a:lnTo>
                <a:close/>
              </a:path>
            </a:pathLst>
          </a:custGeom>
          <a:solidFill>
            <a:schemeClr val="bg1">
              <a:lumMod val="95000"/>
            </a:schemeClr>
          </a:solidFill>
        </p:spPr>
        <p:txBody>
          <a:bodyPr wrap="square">
            <a:noAutofit/>
          </a:bodyPr>
          <a:lstStyle>
            <a:lvl1pPr algn="r">
              <a:defRPr/>
            </a:lvl1pPr>
          </a:lstStyle>
          <a:p>
            <a:r>
              <a:rPr lang="en-AU"/>
              <a:t>Click on icon to insert image and send to back</a:t>
            </a:r>
          </a:p>
        </p:txBody>
      </p:sp>
      <p:sp>
        <p:nvSpPr>
          <p:cNvPr id="33" name="Title 32">
            <a:extLst>
              <a:ext uri="{FF2B5EF4-FFF2-40B4-BE49-F238E27FC236}">
                <a16:creationId xmlns:a16="http://schemas.microsoft.com/office/drawing/2014/main" id="{6AEF0995-26CE-99A3-3325-282CAD29B91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3BE7BC2F-9BDE-EF28-6583-07B9003B15A3}"/>
              </a:ext>
            </a:extLst>
          </p:cNvPr>
          <p:cNvSpPr>
            <a:spLocks noGrp="1"/>
          </p:cNvSpPr>
          <p:nvPr>
            <p:ph type="sldNum" sz="quarter" idx="28"/>
          </p:nvPr>
        </p:nvSpPr>
        <p:spPr/>
        <p:txBody>
          <a:bodyPr/>
          <a:lstStyle/>
          <a:p>
            <a:fld id="{E4C2AD82-1025-4508-97C1-6F7EE5C92734}" type="slidenum">
              <a:rPr lang="en-AU" smtClean="0"/>
              <a:pPr/>
              <a:t>‹#›</a:t>
            </a:fld>
            <a:endParaRPr lang="en-AU"/>
          </a:p>
        </p:txBody>
      </p:sp>
      <p:sp>
        <p:nvSpPr>
          <p:cNvPr id="2" name="Text Placeholder 10">
            <a:extLst>
              <a:ext uri="{FF2B5EF4-FFF2-40B4-BE49-F238E27FC236}">
                <a16:creationId xmlns:a16="http://schemas.microsoft.com/office/drawing/2014/main" id="{323EE0F5-ED38-6609-AEFD-969B1A755ECA}"/>
              </a:ext>
            </a:extLst>
          </p:cNvPr>
          <p:cNvSpPr>
            <a:spLocks noGrp="1"/>
          </p:cNvSpPr>
          <p:nvPr>
            <p:ph type="body" sz="quarter" idx="38"/>
          </p:nvPr>
        </p:nvSpPr>
        <p:spPr>
          <a:xfrm>
            <a:off x="479425"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9" name="Text Placeholder 10">
            <a:extLst>
              <a:ext uri="{FF2B5EF4-FFF2-40B4-BE49-F238E27FC236}">
                <a16:creationId xmlns:a16="http://schemas.microsoft.com/office/drawing/2014/main" id="{E7EE042B-3C24-D878-F301-3F28CEBCA916}"/>
              </a:ext>
            </a:extLst>
          </p:cNvPr>
          <p:cNvSpPr>
            <a:spLocks noGrp="1"/>
          </p:cNvSpPr>
          <p:nvPr>
            <p:ph type="body" sz="quarter" idx="39" hasCustomPrompt="1"/>
          </p:nvPr>
        </p:nvSpPr>
        <p:spPr>
          <a:xfrm>
            <a:off x="3359809"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12" name="Text Placeholder 10">
            <a:extLst>
              <a:ext uri="{FF2B5EF4-FFF2-40B4-BE49-F238E27FC236}">
                <a16:creationId xmlns:a16="http://schemas.microsoft.com/office/drawing/2014/main" id="{F05D9B4D-51D2-67B8-E1D6-8E6096CE0F47}"/>
              </a:ext>
            </a:extLst>
          </p:cNvPr>
          <p:cNvSpPr>
            <a:spLocks noGrp="1"/>
          </p:cNvSpPr>
          <p:nvPr>
            <p:ph type="body" sz="quarter" idx="40"/>
          </p:nvPr>
        </p:nvSpPr>
        <p:spPr>
          <a:xfrm>
            <a:off x="6240104"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C3B0E7A9-FBB2-6B8A-0E51-63FA12715E7B}"/>
              </a:ext>
            </a:extLst>
          </p:cNvPr>
          <p:cNvSpPr>
            <a:spLocks noGrp="1"/>
          </p:cNvSpPr>
          <p:nvPr>
            <p:ph type="body" sz="quarter" idx="41"/>
          </p:nvPr>
        </p:nvSpPr>
        <p:spPr>
          <a:xfrm>
            <a:off x="9120455"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5" name="Picture Placeholder 5">
            <a:extLst>
              <a:ext uri="{FF2B5EF4-FFF2-40B4-BE49-F238E27FC236}">
                <a16:creationId xmlns:a16="http://schemas.microsoft.com/office/drawing/2014/main" id="{1663C430-52A9-4EC5-1F3A-E0E66AC54E59}"/>
              </a:ext>
            </a:extLst>
          </p:cNvPr>
          <p:cNvSpPr>
            <a:spLocks noGrp="1"/>
          </p:cNvSpPr>
          <p:nvPr>
            <p:ph type="pic" sz="quarter" idx="42"/>
          </p:nvPr>
        </p:nvSpPr>
        <p:spPr>
          <a:xfrm>
            <a:off x="479425" y="3271420"/>
            <a:ext cx="612000" cy="612000"/>
          </a:xfrm>
        </p:spPr>
        <p:txBody>
          <a:bodyPr/>
          <a:lstStyle>
            <a:lvl1pPr>
              <a:defRPr sz="800"/>
            </a:lvl1pPr>
          </a:lstStyle>
          <a:p>
            <a:r>
              <a:rPr lang="en-US"/>
              <a:t>Click icon to add picture</a:t>
            </a:r>
            <a:endParaRPr lang="en-GB"/>
          </a:p>
        </p:txBody>
      </p:sp>
      <p:sp>
        <p:nvSpPr>
          <p:cNvPr id="6" name="Picture Placeholder 5">
            <a:extLst>
              <a:ext uri="{FF2B5EF4-FFF2-40B4-BE49-F238E27FC236}">
                <a16:creationId xmlns:a16="http://schemas.microsoft.com/office/drawing/2014/main" id="{3482576E-BFE9-63A0-BFC6-4E2CCEB7C53E}"/>
              </a:ext>
            </a:extLst>
          </p:cNvPr>
          <p:cNvSpPr>
            <a:spLocks noGrp="1"/>
          </p:cNvSpPr>
          <p:nvPr>
            <p:ph type="pic" sz="quarter" idx="43"/>
          </p:nvPr>
        </p:nvSpPr>
        <p:spPr>
          <a:xfrm>
            <a:off x="3359809" y="3271420"/>
            <a:ext cx="612000" cy="612000"/>
          </a:xfrm>
        </p:spPr>
        <p:txBody>
          <a:bodyPr/>
          <a:lstStyle>
            <a:lvl1pPr>
              <a:defRPr sz="800"/>
            </a:lvl1pPr>
          </a:lstStyle>
          <a:p>
            <a:r>
              <a:rPr lang="en-US"/>
              <a:t>Click icon to add picture</a:t>
            </a:r>
            <a:endParaRPr lang="en-GB"/>
          </a:p>
        </p:txBody>
      </p:sp>
      <p:sp>
        <p:nvSpPr>
          <p:cNvPr id="7" name="Picture Placeholder 5">
            <a:extLst>
              <a:ext uri="{FF2B5EF4-FFF2-40B4-BE49-F238E27FC236}">
                <a16:creationId xmlns:a16="http://schemas.microsoft.com/office/drawing/2014/main" id="{8F520135-EA5F-5E5F-A9E4-34215A15A71F}"/>
              </a:ext>
            </a:extLst>
          </p:cNvPr>
          <p:cNvSpPr>
            <a:spLocks noGrp="1"/>
          </p:cNvSpPr>
          <p:nvPr>
            <p:ph type="pic" sz="quarter" idx="44"/>
          </p:nvPr>
        </p:nvSpPr>
        <p:spPr>
          <a:xfrm>
            <a:off x="6240104" y="3271420"/>
            <a:ext cx="612000" cy="612000"/>
          </a:xfrm>
        </p:spPr>
        <p:txBody>
          <a:bodyPr/>
          <a:lstStyle>
            <a:lvl1pPr>
              <a:defRPr sz="800"/>
            </a:lvl1pPr>
          </a:lstStyle>
          <a:p>
            <a:r>
              <a:rPr lang="en-US"/>
              <a:t>Click icon to add picture</a:t>
            </a:r>
            <a:endParaRPr lang="en-GB"/>
          </a:p>
        </p:txBody>
      </p:sp>
      <p:sp>
        <p:nvSpPr>
          <p:cNvPr id="11" name="Picture Placeholder 5">
            <a:extLst>
              <a:ext uri="{FF2B5EF4-FFF2-40B4-BE49-F238E27FC236}">
                <a16:creationId xmlns:a16="http://schemas.microsoft.com/office/drawing/2014/main" id="{F28E2292-926F-FD08-8C2B-F7A967D0CB9F}"/>
              </a:ext>
            </a:extLst>
          </p:cNvPr>
          <p:cNvSpPr>
            <a:spLocks noGrp="1"/>
          </p:cNvSpPr>
          <p:nvPr>
            <p:ph type="pic" sz="quarter" idx="49"/>
          </p:nvPr>
        </p:nvSpPr>
        <p:spPr>
          <a:xfrm>
            <a:off x="9120455" y="3271420"/>
            <a:ext cx="612000" cy="612000"/>
          </a:xfrm>
        </p:spPr>
        <p:txBody>
          <a:bodyPr/>
          <a:lstStyle>
            <a:lvl1pPr>
              <a:defRPr sz="800"/>
            </a:lvl1pPr>
          </a:lstStyle>
          <a:p>
            <a:r>
              <a:rPr lang="en-US"/>
              <a:t>Click icon to add picture</a:t>
            </a:r>
            <a:endParaRPr lang="en-GB"/>
          </a:p>
        </p:txBody>
      </p:sp>
      <p:sp>
        <p:nvSpPr>
          <p:cNvPr id="8" name="Footer Placeholder 4">
            <a:extLst>
              <a:ext uri="{FF2B5EF4-FFF2-40B4-BE49-F238E27FC236}">
                <a16:creationId xmlns:a16="http://schemas.microsoft.com/office/drawing/2014/main" id="{21378F9B-1DB2-CF6E-EAD8-448AF8F5CC0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993442075"/>
      </p:ext>
    </p:extLst>
  </p:cSld>
  <p:clrMapOvr>
    <a:masterClrMapping/>
  </p:clrMapOvr>
  <p:extLst>
    <p:ext uri="{DCECCB84-F9BA-43D5-87BE-67443E8EF086}">
      <p15:sldGuideLst xmlns:p15="http://schemas.microsoft.com/office/powerpoint/2012/main">
        <p15:guide id="7" pos="1935" userDrawn="1">
          <p15:clr>
            <a:srgbClr val="FBAE40"/>
          </p15:clr>
        </p15:guide>
        <p15:guide id="8" pos="2116" userDrawn="1">
          <p15:clr>
            <a:srgbClr val="FBAE40"/>
          </p15:clr>
        </p15:guide>
        <p15:guide id="9" pos="3752" userDrawn="1">
          <p15:clr>
            <a:srgbClr val="FBAE40"/>
          </p15:clr>
        </p15:guide>
        <p15:guide id="10" pos="3936" userDrawn="1">
          <p15:clr>
            <a:srgbClr val="FBAE40"/>
          </p15:clr>
        </p15:guide>
        <p15:guide id="11" pos="5564" userDrawn="1">
          <p15:clr>
            <a:srgbClr val="FBAE40"/>
          </p15:clr>
        </p15:guide>
        <p15:guide id="12" pos="5745"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key points colour_light image_blue transparency">
    <p:spTree>
      <p:nvGrpSpPr>
        <p:cNvPr id="1" name=""/>
        <p:cNvGrpSpPr/>
        <p:nvPr/>
      </p:nvGrpSpPr>
      <p:grpSpPr>
        <a:xfrm>
          <a:off x="0" y="0"/>
          <a:ext cx="0" cy="0"/>
          <a:chOff x="0" y="0"/>
          <a:chExt cx="0" cy="0"/>
        </a:xfrm>
      </p:grpSpPr>
      <p:sp>
        <p:nvSpPr>
          <p:cNvPr id="35" name="Picture Placeholder 9">
            <a:extLst>
              <a:ext uri="{FF2B5EF4-FFF2-40B4-BE49-F238E27FC236}">
                <a16:creationId xmlns:a16="http://schemas.microsoft.com/office/drawing/2014/main" id="{71C67053-1209-AD41-8F0B-84A4280B0045}"/>
              </a:ext>
            </a:extLst>
          </p:cNvPr>
          <p:cNvSpPr>
            <a:spLocks noGrp="1"/>
          </p:cNvSpPr>
          <p:nvPr>
            <p:ph type="pic" sz="quarter" idx="15" hasCustomPrompt="1"/>
          </p:nvPr>
        </p:nvSpPr>
        <p:spPr>
          <a:xfrm>
            <a:off x="0" y="139148"/>
            <a:ext cx="12192000" cy="2713382"/>
          </a:xfrm>
          <a:custGeom>
            <a:avLst/>
            <a:gdLst>
              <a:gd name="connsiteX0" fmla="*/ 0 w 12192000"/>
              <a:gd name="connsiteY0" fmla="*/ 0 h 3683000"/>
              <a:gd name="connsiteX1" fmla="*/ 12192000 w 12192000"/>
              <a:gd name="connsiteY1" fmla="*/ 0 h 3683000"/>
              <a:gd name="connsiteX2" fmla="*/ 12192000 w 12192000"/>
              <a:gd name="connsiteY2" fmla="*/ 3683000 h 3683000"/>
              <a:gd name="connsiteX3" fmla="*/ 0 w 12192000"/>
              <a:gd name="connsiteY3" fmla="*/ 3683000 h 3683000"/>
            </a:gdLst>
            <a:ahLst/>
            <a:cxnLst>
              <a:cxn ang="0">
                <a:pos x="connsiteX0" y="connsiteY0"/>
              </a:cxn>
              <a:cxn ang="0">
                <a:pos x="connsiteX1" y="connsiteY1"/>
              </a:cxn>
              <a:cxn ang="0">
                <a:pos x="connsiteX2" y="connsiteY2"/>
              </a:cxn>
              <a:cxn ang="0">
                <a:pos x="connsiteX3" y="connsiteY3"/>
              </a:cxn>
            </a:cxnLst>
            <a:rect l="l" t="t" r="r" b="b"/>
            <a:pathLst>
              <a:path w="12192000" h="3683000">
                <a:moveTo>
                  <a:pt x="0" y="0"/>
                </a:moveTo>
                <a:lnTo>
                  <a:pt x="12192000" y="0"/>
                </a:lnTo>
                <a:lnTo>
                  <a:pt x="12192000" y="3683000"/>
                </a:lnTo>
                <a:lnTo>
                  <a:pt x="0" y="3683000"/>
                </a:lnTo>
                <a:close/>
              </a:path>
            </a:pathLst>
          </a:custGeom>
          <a:solidFill>
            <a:schemeClr val="bg1">
              <a:lumMod val="95000"/>
            </a:schemeClr>
          </a:solidFill>
        </p:spPr>
        <p:txBody>
          <a:bodyPr wrap="square">
            <a:noAutofit/>
          </a:bodyPr>
          <a:lstStyle>
            <a:lvl1pPr algn="r">
              <a:defRPr/>
            </a:lvl1pPr>
          </a:lstStyle>
          <a:p>
            <a:r>
              <a:rPr lang="en-AU"/>
              <a:t>Click on icon to insert image and send to back</a:t>
            </a:r>
          </a:p>
        </p:txBody>
      </p:sp>
      <p:sp>
        <p:nvSpPr>
          <p:cNvPr id="37" name="Title 32">
            <a:extLst>
              <a:ext uri="{FF2B5EF4-FFF2-40B4-BE49-F238E27FC236}">
                <a16:creationId xmlns:a16="http://schemas.microsoft.com/office/drawing/2014/main" id="{19BC0D73-5D77-774F-AEE8-6929F6C0BA54}"/>
              </a:ext>
            </a:extLst>
          </p:cNvPr>
          <p:cNvSpPr>
            <a:spLocks noGrp="1"/>
          </p:cNvSpPr>
          <p:nvPr>
            <p:ph type="title"/>
          </p:nvPr>
        </p:nvSpPr>
        <p:spPr>
          <a:xfrm>
            <a:off x="479425" y="604203"/>
            <a:ext cx="11233150" cy="746695"/>
          </a:xfrm>
        </p:spPr>
        <p:txBody>
          <a:bodyPr/>
          <a:lstStyle>
            <a:lvl1pPr>
              <a:defRPr>
                <a:solidFill>
                  <a:schemeClr val="tx1"/>
                </a:solidFill>
              </a:defRPr>
            </a:lvl1pPr>
          </a:lstStyle>
          <a:p>
            <a:r>
              <a:rPr lang="en-US"/>
              <a:t>Click to edit Master title style</a:t>
            </a:r>
            <a:endParaRPr lang="en-AU"/>
          </a:p>
        </p:txBody>
      </p:sp>
      <p:sp>
        <p:nvSpPr>
          <p:cNvPr id="38" name="Slide Number Placeholder 3">
            <a:extLst>
              <a:ext uri="{FF2B5EF4-FFF2-40B4-BE49-F238E27FC236}">
                <a16:creationId xmlns:a16="http://schemas.microsoft.com/office/drawing/2014/main" id="{2300B949-A04D-2B47-822E-B336DED0F2FA}"/>
              </a:ext>
            </a:extLst>
          </p:cNvPr>
          <p:cNvSpPr>
            <a:spLocks noGrp="1"/>
          </p:cNvSpPr>
          <p:nvPr>
            <p:ph type="sldNum" sz="quarter" idx="28"/>
          </p:nvPr>
        </p:nvSpPr>
        <p:spPr>
          <a:xfrm>
            <a:off x="479425" y="6339948"/>
            <a:ext cx="173038" cy="169200"/>
          </a:xfrm>
        </p:spPr>
        <p:txBody>
          <a:bodyPr/>
          <a:lstStyle/>
          <a:p>
            <a:fld id="{E4C2AD82-1025-4508-97C1-6F7EE5C92734}" type="slidenum">
              <a:rPr lang="en-AU" smtClean="0"/>
              <a:pPr/>
              <a:t>‹#›</a:t>
            </a:fld>
            <a:endParaRPr lang="en-AU"/>
          </a:p>
        </p:txBody>
      </p:sp>
      <p:sp>
        <p:nvSpPr>
          <p:cNvPr id="43" name="Text Placeholder 10">
            <a:extLst>
              <a:ext uri="{FF2B5EF4-FFF2-40B4-BE49-F238E27FC236}">
                <a16:creationId xmlns:a16="http://schemas.microsoft.com/office/drawing/2014/main" id="{25C90E86-CCB5-5740-A404-B8C44B24C48E}"/>
              </a:ext>
            </a:extLst>
          </p:cNvPr>
          <p:cNvSpPr>
            <a:spLocks noGrp="1"/>
          </p:cNvSpPr>
          <p:nvPr>
            <p:ph type="body" sz="quarter" idx="38"/>
          </p:nvPr>
        </p:nvSpPr>
        <p:spPr>
          <a:xfrm>
            <a:off x="479425"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44" name="Text Placeholder 10">
            <a:extLst>
              <a:ext uri="{FF2B5EF4-FFF2-40B4-BE49-F238E27FC236}">
                <a16:creationId xmlns:a16="http://schemas.microsoft.com/office/drawing/2014/main" id="{D247DE65-72C3-3E40-BB49-FFDB010733E7}"/>
              </a:ext>
            </a:extLst>
          </p:cNvPr>
          <p:cNvSpPr>
            <a:spLocks noGrp="1"/>
          </p:cNvSpPr>
          <p:nvPr>
            <p:ph type="body" sz="quarter" idx="39" hasCustomPrompt="1"/>
          </p:nvPr>
        </p:nvSpPr>
        <p:spPr>
          <a:xfrm>
            <a:off x="3359809"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45" name="Text Placeholder 10">
            <a:extLst>
              <a:ext uri="{FF2B5EF4-FFF2-40B4-BE49-F238E27FC236}">
                <a16:creationId xmlns:a16="http://schemas.microsoft.com/office/drawing/2014/main" id="{4048B0C3-D435-CF4B-9272-35E678E0A316}"/>
              </a:ext>
            </a:extLst>
          </p:cNvPr>
          <p:cNvSpPr>
            <a:spLocks noGrp="1"/>
          </p:cNvSpPr>
          <p:nvPr>
            <p:ph type="body" sz="quarter" idx="40"/>
          </p:nvPr>
        </p:nvSpPr>
        <p:spPr>
          <a:xfrm>
            <a:off x="6240104"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46" name="Text Placeholder 10">
            <a:extLst>
              <a:ext uri="{FF2B5EF4-FFF2-40B4-BE49-F238E27FC236}">
                <a16:creationId xmlns:a16="http://schemas.microsoft.com/office/drawing/2014/main" id="{95D66A77-DA6C-F145-BF1D-5B1BB7952C73}"/>
              </a:ext>
            </a:extLst>
          </p:cNvPr>
          <p:cNvSpPr>
            <a:spLocks noGrp="1"/>
          </p:cNvSpPr>
          <p:nvPr>
            <p:ph type="body" sz="quarter" idx="41"/>
          </p:nvPr>
        </p:nvSpPr>
        <p:spPr>
          <a:xfrm>
            <a:off x="9120455" y="4114800"/>
            <a:ext cx="2592000"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2" name="Picture Placeholder 5">
            <a:extLst>
              <a:ext uri="{FF2B5EF4-FFF2-40B4-BE49-F238E27FC236}">
                <a16:creationId xmlns:a16="http://schemas.microsoft.com/office/drawing/2014/main" id="{A97037DD-BC3E-F3E4-2222-23ADCCCBA22F}"/>
              </a:ext>
            </a:extLst>
          </p:cNvPr>
          <p:cNvSpPr>
            <a:spLocks noGrp="1"/>
          </p:cNvSpPr>
          <p:nvPr>
            <p:ph type="pic" sz="quarter" idx="42"/>
          </p:nvPr>
        </p:nvSpPr>
        <p:spPr>
          <a:xfrm>
            <a:off x="479425" y="3271420"/>
            <a:ext cx="612000" cy="612000"/>
          </a:xfrm>
        </p:spPr>
        <p:txBody>
          <a:bodyPr/>
          <a:lstStyle>
            <a:lvl1pPr>
              <a:defRPr sz="800"/>
            </a:lvl1pPr>
          </a:lstStyle>
          <a:p>
            <a:r>
              <a:rPr lang="en-US"/>
              <a:t>Click icon to add picture</a:t>
            </a:r>
            <a:endParaRPr lang="en-GB"/>
          </a:p>
        </p:txBody>
      </p:sp>
      <p:sp>
        <p:nvSpPr>
          <p:cNvPr id="3" name="Picture Placeholder 5">
            <a:extLst>
              <a:ext uri="{FF2B5EF4-FFF2-40B4-BE49-F238E27FC236}">
                <a16:creationId xmlns:a16="http://schemas.microsoft.com/office/drawing/2014/main" id="{0859B6C4-95E0-4B03-A2CE-81206E92ACB9}"/>
              </a:ext>
            </a:extLst>
          </p:cNvPr>
          <p:cNvSpPr>
            <a:spLocks noGrp="1"/>
          </p:cNvSpPr>
          <p:nvPr>
            <p:ph type="pic" sz="quarter" idx="43"/>
          </p:nvPr>
        </p:nvSpPr>
        <p:spPr>
          <a:xfrm>
            <a:off x="3359809" y="3271420"/>
            <a:ext cx="612000" cy="612000"/>
          </a:xfrm>
        </p:spPr>
        <p:txBody>
          <a:bodyPr/>
          <a:lstStyle>
            <a:lvl1pPr>
              <a:defRPr sz="800"/>
            </a:lvl1pPr>
          </a:lstStyle>
          <a:p>
            <a:r>
              <a:rPr lang="en-US"/>
              <a:t>Click icon to add picture</a:t>
            </a:r>
            <a:endParaRPr lang="en-GB"/>
          </a:p>
        </p:txBody>
      </p:sp>
      <p:sp>
        <p:nvSpPr>
          <p:cNvPr id="4" name="Picture Placeholder 5">
            <a:extLst>
              <a:ext uri="{FF2B5EF4-FFF2-40B4-BE49-F238E27FC236}">
                <a16:creationId xmlns:a16="http://schemas.microsoft.com/office/drawing/2014/main" id="{BEB1B275-8BE2-4F07-57CB-8C783825DDA3}"/>
              </a:ext>
            </a:extLst>
          </p:cNvPr>
          <p:cNvSpPr>
            <a:spLocks noGrp="1"/>
          </p:cNvSpPr>
          <p:nvPr>
            <p:ph type="pic" sz="quarter" idx="44"/>
          </p:nvPr>
        </p:nvSpPr>
        <p:spPr>
          <a:xfrm>
            <a:off x="6240104" y="3271420"/>
            <a:ext cx="612000" cy="612000"/>
          </a:xfrm>
        </p:spPr>
        <p:txBody>
          <a:bodyPr/>
          <a:lstStyle>
            <a:lvl1pPr>
              <a:defRPr sz="800"/>
            </a:lvl1pPr>
          </a:lstStyle>
          <a:p>
            <a:r>
              <a:rPr lang="en-US"/>
              <a:t>Click icon to add picture</a:t>
            </a:r>
            <a:endParaRPr lang="en-GB"/>
          </a:p>
        </p:txBody>
      </p:sp>
      <p:sp>
        <p:nvSpPr>
          <p:cNvPr id="5" name="Picture Placeholder 5">
            <a:extLst>
              <a:ext uri="{FF2B5EF4-FFF2-40B4-BE49-F238E27FC236}">
                <a16:creationId xmlns:a16="http://schemas.microsoft.com/office/drawing/2014/main" id="{25AD4811-3652-7613-E682-1ED0957BA773}"/>
              </a:ext>
            </a:extLst>
          </p:cNvPr>
          <p:cNvSpPr>
            <a:spLocks noGrp="1"/>
          </p:cNvSpPr>
          <p:nvPr>
            <p:ph type="pic" sz="quarter" idx="49"/>
          </p:nvPr>
        </p:nvSpPr>
        <p:spPr>
          <a:xfrm>
            <a:off x="9120455" y="3271420"/>
            <a:ext cx="612000" cy="612000"/>
          </a:xfrm>
        </p:spPr>
        <p:txBody>
          <a:bodyPr/>
          <a:lstStyle>
            <a:lvl1pPr>
              <a:defRPr sz="800"/>
            </a:lvl1pPr>
          </a:lstStyle>
          <a:p>
            <a:r>
              <a:rPr lang="en-US"/>
              <a:t>Click icon to add picture</a:t>
            </a:r>
            <a:endParaRPr lang="en-GB"/>
          </a:p>
        </p:txBody>
      </p:sp>
      <p:sp>
        <p:nvSpPr>
          <p:cNvPr id="6" name="Footer Placeholder 4">
            <a:extLst>
              <a:ext uri="{FF2B5EF4-FFF2-40B4-BE49-F238E27FC236}">
                <a16:creationId xmlns:a16="http://schemas.microsoft.com/office/drawing/2014/main" id="{AC71CF1C-AD2D-634D-B030-0E2CA4B1DDA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909913149"/>
      </p:ext>
    </p:extLst>
  </p:cSld>
  <p:clrMapOvr>
    <a:masterClrMapping/>
  </p:clrMapOvr>
  <p:extLst>
    <p:ext uri="{DCECCB84-F9BA-43D5-87BE-67443E8EF086}">
      <p15:sldGuideLst xmlns:p15="http://schemas.microsoft.com/office/powerpoint/2012/main">
        <p15:guide id="7" pos="1935" userDrawn="1">
          <p15:clr>
            <a:srgbClr val="FBAE40"/>
          </p15:clr>
        </p15:guide>
        <p15:guide id="8" pos="2116" userDrawn="1">
          <p15:clr>
            <a:srgbClr val="FBAE40"/>
          </p15:clr>
        </p15:guide>
        <p15:guide id="9" pos="3752" userDrawn="1">
          <p15:clr>
            <a:srgbClr val="FBAE40"/>
          </p15:clr>
        </p15:guide>
        <p15:guide id="10" pos="3936" userDrawn="1">
          <p15:clr>
            <a:srgbClr val="FBAE40"/>
          </p15:clr>
        </p15:guide>
        <p15:guide id="11" pos="5564" userDrawn="1">
          <p15:clr>
            <a:srgbClr val="FBAE40"/>
          </p15:clr>
        </p15:guide>
        <p15:guide id="12" pos="5745"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key points colour_light image top">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1B2E24D8-414B-A734-0BE4-D1FCA9281EBF}"/>
              </a:ext>
            </a:extLst>
          </p:cNvPr>
          <p:cNvSpPr>
            <a:spLocks noGrp="1"/>
          </p:cNvSpPr>
          <p:nvPr>
            <p:ph type="sldNum" sz="quarter" idx="28"/>
          </p:nvPr>
        </p:nvSpPr>
        <p:spPr>
          <a:xfrm>
            <a:off x="479425" y="6339948"/>
            <a:ext cx="173038" cy="169200"/>
          </a:xfrm>
        </p:spPr>
        <p:txBody>
          <a:bodyPr/>
          <a:lstStyle/>
          <a:p>
            <a:fld id="{E4C2AD82-1025-4508-97C1-6F7EE5C92734}" type="slidenum">
              <a:rPr lang="en-AU" smtClean="0"/>
              <a:pPr/>
              <a:t>‹#›</a:t>
            </a:fld>
            <a:endParaRPr lang="en-AU"/>
          </a:p>
        </p:txBody>
      </p:sp>
      <p:sp>
        <p:nvSpPr>
          <p:cNvPr id="13" name="Text Placeholder 10">
            <a:extLst>
              <a:ext uri="{FF2B5EF4-FFF2-40B4-BE49-F238E27FC236}">
                <a16:creationId xmlns:a16="http://schemas.microsoft.com/office/drawing/2014/main" id="{E3DF9007-54E8-3C2F-7D8D-BF0745BBF267}"/>
              </a:ext>
            </a:extLst>
          </p:cNvPr>
          <p:cNvSpPr>
            <a:spLocks noGrp="1"/>
          </p:cNvSpPr>
          <p:nvPr>
            <p:ph type="body" sz="quarter" idx="38"/>
          </p:nvPr>
        </p:nvSpPr>
        <p:spPr>
          <a:xfrm>
            <a:off x="479425" y="4116158"/>
            <a:ext cx="3290484"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8B68450B-A2D8-1410-DC84-A994413989B0}"/>
              </a:ext>
            </a:extLst>
          </p:cNvPr>
          <p:cNvSpPr>
            <a:spLocks noGrp="1"/>
          </p:cNvSpPr>
          <p:nvPr>
            <p:ph type="body" sz="quarter" idx="39" hasCustomPrompt="1"/>
          </p:nvPr>
        </p:nvSpPr>
        <p:spPr>
          <a:xfrm>
            <a:off x="4381497" y="4116158"/>
            <a:ext cx="3290484"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15" name="Text Placeholder 10">
            <a:extLst>
              <a:ext uri="{FF2B5EF4-FFF2-40B4-BE49-F238E27FC236}">
                <a16:creationId xmlns:a16="http://schemas.microsoft.com/office/drawing/2014/main" id="{8273DA92-4D83-9C03-15CD-2BFEB34F3B9A}"/>
              </a:ext>
            </a:extLst>
          </p:cNvPr>
          <p:cNvSpPr>
            <a:spLocks noGrp="1"/>
          </p:cNvSpPr>
          <p:nvPr>
            <p:ph type="body" sz="quarter" idx="40"/>
          </p:nvPr>
        </p:nvSpPr>
        <p:spPr>
          <a:xfrm>
            <a:off x="8226838" y="4116158"/>
            <a:ext cx="3290484" cy="1762128"/>
          </a:xfrm>
          <a:noFill/>
        </p:spPr>
        <p:txBody>
          <a:bodyPr lIns="0" anchor="t" anchorCtr="0"/>
          <a:lstStyle>
            <a:lvl1pPr>
              <a:spcAft>
                <a:spcPts val="0"/>
              </a:spcAft>
              <a:defRPr sz="1400">
                <a:solidFill>
                  <a:schemeClr val="tx2"/>
                </a:solidFill>
              </a:defRPr>
            </a:lvl1pPr>
            <a:lvl2pPr marL="0" indent="0">
              <a:spcAft>
                <a:spcPts val="0"/>
              </a:spcAft>
              <a:buNone/>
              <a:defRPr/>
            </a:lvl2pPr>
          </a:lstStyle>
          <a:p>
            <a:pPr lvl="0"/>
            <a:r>
              <a:rPr lang="en-US"/>
              <a:t>Click to edit Master text styles</a:t>
            </a:r>
          </a:p>
          <a:p>
            <a:pPr lvl="1"/>
            <a:r>
              <a:rPr lang="en-US"/>
              <a:t>Second level</a:t>
            </a:r>
          </a:p>
        </p:txBody>
      </p:sp>
      <p:sp>
        <p:nvSpPr>
          <p:cNvPr id="16" name="Picture Placeholder 9">
            <a:extLst>
              <a:ext uri="{FF2B5EF4-FFF2-40B4-BE49-F238E27FC236}">
                <a16:creationId xmlns:a16="http://schemas.microsoft.com/office/drawing/2014/main" id="{14811265-DF9D-7C26-1FDA-F4768A9C9148}"/>
              </a:ext>
            </a:extLst>
          </p:cNvPr>
          <p:cNvSpPr>
            <a:spLocks noGrp="1"/>
          </p:cNvSpPr>
          <p:nvPr>
            <p:ph type="pic" sz="quarter" idx="15" hasCustomPrompt="1"/>
          </p:nvPr>
        </p:nvSpPr>
        <p:spPr>
          <a:xfrm>
            <a:off x="0" y="139148"/>
            <a:ext cx="12192000" cy="2713382"/>
          </a:xfrm>
          <a:custGeom>
            <a:avLst/>
            <a:gdLst>
              <a:gd name="connsiteX0" fmla="*/ 0 w 12192000"/>
              <a:gd name="connsiteY0" fmla="*/ 0 h 3683000"/>
              <a:gd name="connsiteX1" fmla="*/ 12192000 w 12192000"/>
              <a:gd name="connsiteY1" fmla="*/ 0 h 3683000"/>
              <a:gd name="connsiteX2" fmla="*/ 12192000 w 12192000"/>
              <a:gd name="connsiteY2" fmla="*/ 3683000 h 3683000"/>
              <a:gd name="connsiteX3" fmla="*/ 0 w 12192000"/>
              <a:gd name="connsiteY3" fmla="*/ 3683000 h 3683000"/>
            </a:gdLst>
            <a:ahLst/>
            <a:cxnLst>
              <a:cxn ang="0">
                <a:pos x="connsiteX0" y="connsiteY0"/>
              </a:cxn>
              <a:cxn ang="0">
                <a:pos x="connsiteX1" y="connsiteY1"/>
              </a:cxn>
              <a:cxn ang="0">
                <a:pos x="connsiteX2" y="connsiteY2"/>
              </a:cxn>
              <a:cxn ang="0">
                <a:pos x="connsiteX3" y="connsiteY3"/>
              </a:cxn>
            </a:cxnLst>
            <a:rect l="l" t="t" r="r" b="b"/>
            <a:pathLst>
              <a:path w="12192000" h="3683000">
                <a:moveTo>
                  <a:pt x="0" y="0"/>
                </a:moveTo>
                <a:lnTo>
                  <a:pt x="12192000" y="0"/>
                </a:lnTo>
                <a:lnTo>
                  <a:pt x="12192000" y="3683000"/>
                </a:lnTo>
                <a:lnTo>
                  <a:pt x="0" y="3683000"/>
                </a:lnTo>
                <a:close/>
              </a:path>
            </a:pathLst>
          </a:custGeom>
          <a:solidFill>
            <a:schemeClr val="bg1">
              <a:lumMod val="95000"/>
            </a:schemeClr>
          </a:solidFill>
        </p:spPr>
        <p:txBody>
          <a:bodyPr wrap="square">
            <a:noAutofit/>
          </a:bodyPr>
          <a:lstStyle>
            <a:lvl1pPr algn="r">
              <a:defRPr/>
            </a:lvl1pPr>
          </a:lstStyle>
          <a:p>
            <a:r>
              <a:rPr lang="en-AU"/>
              <a:t>Click on icon to insert image and send to back</a:t>
            </a:r>
          </a:p>
        </p:txBody>
      </p:sp>
      <p:sp>
        <p:nvSpPr>
          <p:cNvPr id="17" name="Title 32">
            <a:extLst>
              <a:ext uri="{FF2B5EF4-FFF2-40B4-BE49-F238E27FC236}">
                <a16:creationId xmlns:a16="http://schemas.microsoft.com/office/drawing/2014/main" id="{6D732B95-F79C-7F91-3A50-7F5BEB4DBCF1}"/>
              </a:ext>
            </a:extLst>
          </p:cNvPr>
          <p:cNvSpPr>
            <a:spLocks noGrp="1"/>
          </p:cNvSpPr>
          <p:nvPr>
            <p:ph type="title"/>
          </p:nvPr>
        </p:nvSpPr>
        <p:spPr>
          <a:xfrm>
            <a:off x="479425" y="604203"/>
            <a:ext cx="11233150" cy="746695"/>
          </a:xfrm>
        </p:spPr>
        <p:txBody>
          <a:bodyPr/>
          <a:lstStyle>
            <a:lvl1pPr>
              <a:defRPr>
                <a:solidFill>
                  <a:schemeClr val="tx1"/>
                </a:solidFill>
              </a:defRPr>
            </a:lvl1pPr>
          </a:lstStyle>
          <a:p>
            <a:r>
              <a:rPr lang="en-US"/>
              <a:t>Click to edit Master title style</a:t>
            </a:r>
            <a:endParaRPr lang="en-AU"/>
          </a:p>
        </p:txBody>
      </p:sp>
      <p:sp>
        <p:nvSpPr>
          <p:cNvPr id="2" name="Picture Placeholder 5">
            <a:extLst>
              <a:ext uri="{FF2B5EF4-FFF2-40B4-BE49-F238E27FC236}">
                <a16:creationId xmlns:a16="http://schemas.microsoft.com/office/drawing/2014/main" id="{A98C2F7E-B0E9-AF2B-0BCB-54B752C0EBFC}"/>
              </a:ext>
            </a:extLst>
          </p:cNvPr>
          <p:cNvSpPr>
            <a:spLocks noGrp="1"/>
          </p:cNvSpPr>
          <p:nvPr>
            <p:ph type="pic" sz="quarter" idx="42"/>
          </p:nvPr>
        </p:nvSpPr>
        <p:spPr>
          <a:xfrm>
            <a:off x="479425" y="3271420"/>
            <a:ext cx="612000" cy="612000"/>
          </a:xfrm>
        </p:spPr>
        <p:txBody>
          <a:bodyPr/>
          <a:lstStyle>
            <a:lvl1pPr>
              <a:defRPr sz="800"/>
            </a:lvl1pPr>
          </a:lstStyle>
          <a:p>
            <a:r>
              <a:rPr lang="en-US"/>
              <a:t>Click icon to add picture</a:t>
            </a:r>
            <a:endParaRPr lang="en-GB"/>
          </a:p>
        </p:txBody>
      </p:sp>
      <p:sp>
        <p:nvSpPr>
          <p:cNvPr id="3" name="Picture Placeholder 5">
            <a:extLst>
              <a:ext uri="{FF2B5EF4-FFF2-40B4-BE49-F238E27FC236}">
                <a16:creationId xmlns:a16="http://schemas.microsoft.com/office/drawing/2014/main" id="{E8467C0C-8107-6C63-CDCB-D40338DE2A9D}"/>
              </a:ext>
            </a:extLst>
          </p:cNvPr>
          <p:cNvSpPr>
            <a:spLocks noGrp="1"/>
          </p:cNvSpPr>
          <p:nvPr>
            <p:ph type="pic" sz="quarter" idx="43"/>
          </p:nvPr>
        </p:nvSpPr>
        <p:spPr>
          <a:xfrm>
            <a:off x="4381497" y="3271420"/>
            <a:ext cx="612000" cy="612000"/>
          </a:xfrm>
        </p:spPr>
        <p:txBody>
          <a:bodyPr/>
          <a:lstStyle>
            <a:lvl1pPr>
              <a:defRPr sz="800"/>
            </a:lvl1pPr>
          </a:lstStyle>
          <a:p>
            <a:r>
              <a:rPr lang="en-US"/>
              <a:t>Click icon to add picture</a:t>
            </a:r>
            <a:endParaRPr lang="en-GB"/>
          </a:p>
        </p:txBody>
      </p:sp>
      <p:sp>
        <p:nvSpPr>
          <p:cNvPr id="4" name="Picture Placeholder 5">
            <a:extLst>
              <a:ext uri="{FF2B5EF4-FFF2-40B4-BE49-F238E27FC236}">
                <a16:creationId xmlns:a16="http://schemas.microsoft.com/office/drawing/2014/main" id="{2096AB77-438F-96E8-A694-903344C9A4DB}"/>
              </a:ext>
            </a:extLst>
          </p:cNvPr>
          <p:cNvSpPr>
            <a:spLocks noGrp="1"/>
          </p:cNvSpPr>
          <p:nvPr>
            <p:ph type="pic" sz="quarter" idx="44"/>
          </p:nvPr>
        </p:nvSpPr>
        <p:spPr>
          <a:xfrm>
            <a:off x="8226838" y="3271420"/>
            <a:ext cx="612000" cy="612000"/>
          </a:xfrm>
        </p:spPr>
        <p:txBody>
          <a:bodyPr/>
          <a:lstStyle>
            <a:lvl1pPr>
              <a:defRPr sz="800"/>
            </a:lvl1pPr>
          </a:lstStyle>
          <a:p>
            <a:r>
              <a:rPr lang="en-US"/>
              <a:t>Click icon to add picture</a:t>
            </a:r>
            <a:endParaRPr lang="en-GB"/>
          </a:p>
        </p:txBody>
      </p:sp>
      <p:sp>
        <p:nvSpPr>
          <p:cNvPr id="5" name="Footer Placeholder 4">
            <a:extLst>
              <a:ext uri="{FF2B5EF4-FFF2-40B4-BE49-F238E27FC236}">
                <a16:creationId xmlns:a16="http://schemas.microsoft.com/office/drawing/2014/main" id="{149FB304-48FD-B3C2-F07C-5906A6CFE0C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41351563"/>
      </p:ext>
    </p:extLst>
  </p:cSld>
  <p:clrMapOvr>
    <a:masterClrMapping/>
  </p:clrMapOvr>
  <p:extLst>
    <p:ext uri="{DCECCB84-F9BA-43D5-87BE-67443E8EF086}">
      <p15:sldGuideLst xmlns:p15="http://schemas.microsoft.com/office/powerpoint/2012/main">
        <p15:guide id="5" pos="2389" userDrawn="1">
          <p15:clr>
            <a:srgbClr val="FBAE40"/>
          </p15:clr>
        </p15:guide>
        <p15:guide id="6" pos="2816" userDrawn="1">
          <p15:clr>
            <a:srgbClr val="FBAE40"/>
          </p15:clr>
        </p15:guide>
        <p15:guide id="7" pos="4872" userDrawn="1">
          <p15:clr>
            <a:srgbClr val="FBAE40"/>
          </p15:clr>
        </p15:guide>
        <p15:guide id="8" pos="5292"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 1x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83887CF3-06D4-2741-A7EC-1328106CFFC1}"/>
              </a:ext>
            </a:extLst>
          </p:cNvPr>
          <p:cNvSpPr>
            <a:spLocks noGrp="1"/>
          </p:cNvSpPr>
          <p:nvPr>
            <p:ph idx="15" hasCustomPrompt="1"/>
          </p:nvPr>
        </p:nvSpPr>
        <p:spPr>
          <a:xfrm>
            <a:off x="0" y="138818"/>
            <a:ext cx="3743326" cy="6719182"/>
          </a:xfrm>
          <a:blipFill dpi="0" rotWithShape="1">
            <a:blip r:embed="rId2">
              <a:alphaModFix amt="50000"/>
            </a:blip>
            <a:srcRect/>
            <a:stretch>
              <a:fillRect l="-86043" r="-86043"/>
            </a:stretch>
          </a:blipFill>
        </p:spPr>
        <p:txBody>
          <a:bodyPr lIns="180000" tIns="180000" rIns="180000" bIns="180000"/>
          <a:lstStyle>
            <a:lvl1pPr>
              <a:spcAft>
                <a:spcPts val="1800"/>
              </a:spcAft>
              <a:defRPr>
                <a:solidFill>
                  <a:schemeClr val="tx1"/>
                </a:solidFill>
              </a:defRPr>
            </a:lvl1pPr>
            <a:lvl2pPr marL="171450" indent="-171450">
              <a:spcAft>
                <a:spcPts val="0"/>
              </a:spcAft>
              <a:buClrTx/>
              <a:buFont typeface="Arial" panose="020B0604020202020204" pitchFamily="34" charset="0"/>
              <a:buChar char="›"/>
              <a:defRPr sz="1400"/>
            </a:lvl2pPr>
            <a:lvl3pPr marL="358775" indent="-179388">
              <a:spcBef>
                <a:spcPts val="600"/>
              </a:spcBef>
              <a:spcAft>
                <a:spcPts val="600"/>
              </a:spcAft>
              <a:buFont typeface="Arial" panose="020B0604020202020204" pitchFamily="34" charset="0"/>
              <a:buChar char="•"/>
              <a:tabLst>
                <a:tab pos="179388" algn="l"/>
              </a:tabLst>
              <a:defRPr/>
            </a:lvl3pPr>
            <a:lvl4pPr marL="0" indent="0">
              <a:spcBef>
                <a:spcPts val="1800"/>
              </a:spcBef>
              <a:buNone/>
              <a:defRPr sz="1200"/>
            </a:lvl4pPr>
          </a:lstStyle>
          <a:p>
            <a:pPr lvl="0"/>
            <a:r>
              <a:rPr lang="en-US"/>
              <a:t> </a:t>
            </a:r>
            <a:endParaRPr lang="en-AU"/>
          </a:p>
        </p:txBody>
      </p:sp>
      <p:sp>
        <p:nvSpPr>
          <p:cNvPr id="3" name="Content Placeholder 2">
            <a:extLst>
              <a:ext uri="{FF2B5EF4-FFF2-40B4-BE49-F238E27FC236}">
                <a16:creationId xmlns:a16="http://schemas.microsoft.com/office/drawing/2014/main" id="{2E316D87-7007-ABF0-6579-8A2B65055FBA}"/>
              </a:ext>
            </a:extLst>
          </p:cNvPr>
          <p:cNvSpPr>
            <a:spLocks noGrp="1"/>
          </p:cNvSpPr>
          <p:nvPr>
            <p:ph idx="1"/>
          </p:nvPr>
        </p:nvSpPr>
        <p:spPr>
          <a:xfrm>
            <a:off x="5051425" y="608012"/>
            <a:ext cx="6661150" cy="23832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2">
            <a:extLst>
              <a:ext uri="{FF2B5EF4-FFF2-40B4-BE49-F238E27FC236}">
                <a16:creationId xmlns:a16="http://schemas.microsoft.com/office/drawing/2014/main" id="{FEB10E0B-FC0A-9FFD-D8C6-0FC4F60355BF}"/>
              </a:ext>
            </a:extLst>
          </p:cNvPr>
          <p:cNvSpPr>
            <a:spLocks noGrp="1"/>
          </p:cNvSpPr>
          <p:nvPr>
            <p:ph idx="32"/>
          </p:nvPr>
        </p:nvSpPr>
        <p:spPr>
          <a:xfrm>
            <a:off x="5051425" y="3509564"/>
            <a:ext cx="6661150" cy="23832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Slide Number Placeholder 1">
            <a:extLst>
              <a:ext uri="{FF2B5EF4-FFF2-40B4-BE49-F238E27FC236}">
                <a16:creationId xmlns:a16="http://schemas.microsoft.com/office/drawing/2014/main" id="{C493C8CD-E8EA-3A6A-7D6A-15401D8212A3}"/>
              </a:ext>
            </a:extLst>
          </p:cNvPr>
          <p:cNvSpPr>
            <a:spLocks noGrp="1"/>
          </p:cNvSpPr>
          <p:nvPr>
            <p:ph type="sldNum" sz="quarter" idx="33"/>
          </p:nvPr>
        </p:nvSpPr>
        <p:spPr>
          <a:xfrm>
            <a:off x="479425" y="6339948"/>
            <a:ext cx="173038" cy="169200"/>
          </a:xfrm>
        </p:spPr>
        <p:txBody>
          <a:bodyPr/>
          <a:lstStyle>
            <a:lvl1pPr>
              <a:defRPr>
                <a:solidFill>
                  <a:schemeClr val="tx1"/>
                </a:solidFill>
              </a:defRPr>
            </a:lvl1pPr>
          </a:lstStyle>
          <a:p>
            <a:fld id="{E4C2AD82-1025-4508-97C1-6F7EE5C92734}" type="slidenum">
              <a:rPr lang="en-AU" smtClean="0"/>
              <a:pPr/>
              <a:t>‹#›</a:t>
            </a:fld>
            <a:endParaRPr lang="en-AU"/>
          </a:p>
        </p:txBody>
      </p:sp>
      <p:sp>
        <p:nvSpPr>
          <p:cNvPr id="17" name="Text Placeholder 23">
            <a:extLst>
              <a:ext uri="{FF2B5EF4-FFF2-40B4-BE49-F238E27FC236}">
                <a16:creationId xmlns:a16="http://schemas.microsoft.com/office/drawing/2014/main" id="{DCE8C4A1-FF5D-0861-37E0-7946A9C90259}"/>
              </a:ext>
            </a:extLst>
          </p:cNvPr>
          <p:cNvSpPr>
            <a:spLocks noGrp="1"/>
          </p:cNvSpPr>
          <p:nvPr>
            <p:ph type="body" sz="quarter" idx="24"/>
          </p:nvPr>
        </p:nvSpPr>
        <p:spPr>
          <a:xfrm>
            <a:off x="479425" y="1668864"/>
            <a:ext cx="2448243" cy="3867232"/>
          </a:xfrm>
        </p:spPr>
        <p:txBody>
          <a:bodyPr/>
          <a:lstStyle>
            <a:lvl1pPr>
              <a:defRPr sz="1600" b="0">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12" name="Title 1">
            <a:extLst>
              <a:ext uri="{FF2B5EF4-FFF2-40B4-BE49-F238E27FC236}">
                <a16:creationId xmlns:a16="http://schemas.microsoft.com/office/drawing/2014/main" id="{F7229174-CAA9-2640-8BC2-5DBCD2D35DDF}"/>
              </a:ext>
            </a:extLst>
          </p:cNvPr>
          <p:cNvSpPr>
            <a:spLocks noGrp="1"/>
          </p:cNvSpPr>
          <p:nvPr>
            <p:ph type="title" hasCustomPrompt="1"/>
          </p:nvPr>
        </p:nvSpPr>
        <p:spPr>
          <a:xfrm>
            <a:off x="479426" y="626164"/>
            <a:ext cx="2448243" cy="798775"/>
          </a:xfrm>
        </p:spPr>
        <p:txBody>
          <a:bodyPr anchor="b" anchorCtr="0"/>
          <a:lstStyle>
            <a:lvl1pPr>
              <a:defRPr>
                <a:solidFill>
                  <a:schemeClr val="tx1"/>
                </a:solidFill>
              </a:defRPr>
            </a:lvl1pPr>
          </a:lstStyle>
          <a:p>
            <a:r>
              <a:rPr lang="en-US"/>
              <a:t>Main Title Goes Here</a:t>
            </a:r>
            <a:endParaRPr lang="en-AU"/>
          </a:p>
        </p:txBody>
      </p:sp>
      <p:sp>
        <p:nvSpPr>
          <p:cNvPr id="2" name="Footer Placeholder 4">
            <a:extLst>
              <a:ext uri="{FF2B5EF4-FFF2-40B4-BE49-F238E27FC236}">
                <a16:creationId xmlns:a16="http://schemas.microsoft.com/office/drawing/2014/main" id="{99353758-2BC6-CD28-F703-BD48419D07F3}"/>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86367146"/>
      </p:ext>
    </p:extLst>
  </p:cSld>
  <p:clrMapOvr>
    <a:masterClrMapping/>
  </p:clrMapOvr>
  <p:extLst>
    <p:ext uri="{DCECCB84-F9BA-43D5-87BE-67443E8EF086}">
      <p15:sldGuideLst xmlns:p15="http://schemas.microsoft.com/office/powerpoint/2012/main">
        <p15:guide id="3" pos="3182" userDrawn="1">
          <p15:clr>
            <a:srgbClr val="FBAE40"/>
          </p15:clr>
        </p15:guide>
        <p15:guide id="4" pos="28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3_option 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EAC886F-EC3D-B0EF-F10E-45895CBFC708}"/>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479425" y="3643376"/>
            <a:ext cx="10842844" cy="645610"/>
          </a:xfrm>
        </p:spPr>
        <p:txBody>
          <a:bodyPr anchor="t" anchorCtr="0"/>
          <a:lstStyle>
            <a:lvl1pPr algn="l">
              <a:defRPr sz="3400">
                <a:solidFill>
                  <a:schemeClr val="bg1"/>
                </a:solidFill>
              </a:defRPr>
            </a:lvl1pPr>
          </a:lstStyle>
          <a:p>
            <a:r>
              <a:rPr lang="en-US"/>
              <a:t>Your text here</a:t>
            </a:r>
            <a:endParaRPr lang="en-AU"/>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479425" y="5971667"/>
            <a:ext cx="3600000" cy="252000"/>
          </a:xfrm>
        </p:spPr>
        <p:txBody>
          <a:bodyPr/>
          <a:lstStyle>
            <a:lvl1pPr marL="0" indent="0" algn="l">
              <a:buNone/>
              <a:defRPr sz="15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32" name="Rectangle 31">
            <a:extLst>
              <a:ext uri="{FF2B5EF4-FFF2-40B4-BE49-F238E27FC236}">
                <a16:creationId xmlns:a16="http://schemas.microsoft.com/office/drawing/2014/main" id="{884FAE92-E772-7A1F-2C56-1DE10449B4D7}"/>
              </a:ext>
            </a:extLst>
          </p:cNvPr>
          <p:cNvSpPr/>
          <p:nvPr/>
        </p:nvSpPr>
        <p:spPr>
          <a:xfrm>
            <a:off x="0" y="0"/>
            <a:ext cx="12192000" cy="19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ext Placeholder 8">
            <a:extLst>
              <a:ext uri="{FF2B5EF4-FFF2-40B4-BE49-F238E27FC236}">
                <a16:creationId xmlns:a16="http://schemas.microsoft.com/office/drawing/2014/main" id="{B0697358-839B-D5D6-EB0F-627FBD488A49}"/>
              </a:ext>
            </a:extLst>
          </p:cNvPr>
          <p:cNvSpPr>
            <a:spLocks noGrp="1"/>
          </p:cNvSpPr>
          <p:nvPr>
            <p:ph type="body" sz="quarter" idx="10" hasCustomPrompt="1"/>
          </p:nvPr>
        </p:nvSpPr>
        <p:spPr>
          <a:xfrm>
            <a:off x="479425" y="3438016"/>
            <a:ext cx="11268000" cy="10800"/>
          </a:xfrm>
          <a:solidFill>
            <a:schemeClr val="bg1"/>
          </a:solidFill>
        </p:spPr>
        <p:txBody>
          <a:bodyPr/>
          <a:lstStyle>
            <a:lvl1pPr>
              <a:defRPr/>
            </a:lvl1pPr>
          </a:lstStyle>
          <a:p>
            <a:pPr lvl="0"/>
            <a:r>
              <a:rPr lang="en-US"/>
              <a:t> </a:t>
            </a:r>
            <a:endParaRPr lang="en-AU"/>
          </a:p>
        </p:txBody>
      </p:sp>
      <p:sp>
        <p:nvSpPr>
          <p:cNvPr id="10" name="Text Placeholder 8">
            <a:extLst>
              <a:ext uri="{FF2B5EF4-FFF2-40B4-BE49-F238E27FC236}">
                <a16:creationId xmlns:a16="http://schemas.microsoft.com/office/drawing/2014/main" id="{C1A15EDA-4756-C16A-4B18-DED8C97F5836}"/>
              </a:ext>
            </a:extLst>
          </p:cNvPr>
          <p:cNvSpPr>
            <a:spLocks noGrp="1"/>
          </p:cNvSpPr>
          <p:nvPr>
            <p:ph type="body" sz="quarter" idx="11" hasCustomPrompt="1"/>
          </p:nvPr>
        </p:nvSpPr>
        <p:spPr>
          <a:xfrm>
            <a:off x="479425" y="5522848"/>
            <a:ext cx="11268000" cy="10800"/>
          </a:xfrm>
          <a:solidFill>
            <a:schemeClr val="bg1"/>
          </a:solidFill>
        </p:spPr>
        <p:txBody>
          <a:bodyPr/>
          <a:lstStyle>
            <a:lvl1pPr>
              <a:defRPr/>
            </a:lvl1pPr>
          </a:lstStyle>
          <a:p>
            <a:pPr lvl="0"/>
            <a:r>
              <a:rPr lang="en-US"/>
              <a:t> </a:t>
            </a:r>
            <a:endParaRPr lang="en-AU"/>
          </a:p>
        </p:txBody>
      </p:sp>
      <p:sp>
        <p:nvSpPr>
          <p:cNvPr id="14" name="Freeform: Shape 13">
            <a:extLst>
              <a:ext uri="{FF2B5EF4-FFF2-40B4-BE49-F238E27FC236}">
                <a16:creationId xmlns:a16="http://schemas.microsoft.com/office/drawing/2014/main" id="{514E4B23-6332-3A02-73C0-39F17AA4B5FF}"/>
              </a:ext>
            </a:extLst>
          </p:cNvPr>
          <p:cNvSpPr/>
          <p:nvPr/>
        </p:nvSpPr>
        <p:spPr>
          <a:xfrm>
            <a:off x="464621" y="1748678"/>
            <a:ext cx="232692" cy="265159"/>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rgbClr val="FFFFFF"/>
          </a:solidFill>
          <a:ln w="12748"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60706CA0-469D-523F-DDEB-E53B7818274F}"/>
              </a:ext>
            </a:extLst>
          </p:cNvPr>
          <p:cNvSpPr/>
          <p:nvPr/>
        </p:nvSpPr>
        <p:spPr>
          <a:xfrm>
            <a:off x="703529" y="1748612"/>
            <a:ext cx="264233" cy="265159"/>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rgbClr val="FFFFFF"/>
          </a:solidFill>
          <a:ln w="12748"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342CA9A7-38B2-EA69-968E-F54C227344FF}"/>
              </a:ext>
            </a:extLst>
          </p:cNvPr>
          <p:cNvSpPr/>
          <p:nvPr/>
        </p:nvSpPr>
        <p:spPr>
          <a:xfrm>
            <a:off x="958769" y="1655945"/>
            <a:ext cx="684520" cy="35266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rgbClr val="FFFFFF"/>
          </a:solidFill>
          <a:ln w="12748"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2986FD0E-1F1F-9396-8067-238C1F1D425F}"/>
              </a:ext>
            </a:extLst>
          </p:cNvPr>
          <p:cNvSpPr/>
          <p:nvPr/>
        </p:nvSpPr>
        <p:spPr>
          <a:xfrm>
            <a:off x="1626824" y="1748546"/>
            <a:ext cx="245321" cy="263770"/>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rgbClr val="FFFFFF"/>
          </a:solidFill>
          <a:ln w="12748"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A6C729BC-1312-4D84-F245-730E2DEE76B2}"/>
              </a:ext>
            </a:extLst>
          </p:cNvPr>
          <p:cNvSpPr/>
          <p:nvPr/>
        </p:nvSpPr>
        <p:spPr>
          <a:xfrm>
            <a:off x="1890660" y="1751456"/>
            <a:ext cx="157508" cy="254380"/>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rgbClr val="FFFFFF"/>
          </a:solidFill>
          <a:ln w="12748"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8B97EC9D-3EAF-339A-74C3-05C6C92B6BAF}"/>
              </a:ext>
            </a:extLst>
          </p:cNvPr>
          <p:cNvSpPr/>
          <p:nvPr/>
        </p:nvSpPr>
        <p:spPr>
          <a:xfrm>
            <a:off x="2045987" y="1748612"/>
            <a:ext cx="254855" cy="264696"/>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rgbClr val="FFFFFF"/>
          </a:solidFill>
          <a:ln w="12748" cap="flat">
            <a:noFill/>
            <a:prstDash val="solid"/>
            <a:miter/>
          </a:ln>
        </p:spPr>
        <p:txBody>
          <a:bodyPr rtlCol="0" anchor="ctr"/>
          <a:lstStyle/>
          <a:p>
            <a:endParaRPr lang="en-AU"/>
          </a:p>
        </p:txBody>
      </p:sp>
      <p:sp>
        <p:nvSpPr>
          <p:cNvPr id="21" name="Text Placeholder 20">
            <a:extLst>
              <a:ext uri="{FF2B5EF4-FFF2-40B4-BE49-F238E27FC236}">
                <a16:creationId xmlns:a16="http://schemas.microsoft.com/office/drawing/2014/main" id="{448993CC-D7E4-12D5-5827-680DDF8329FD}"/>
              </a:ext>
            </a:extLst>
          </p:cNvPr>
          <p:cNvSpPr>
            <a:spLocks noGrp="1"/>
          </p:cNvSpPr>
          <p:nvPr>
            <p:ph type="body" sz="quarter" idx="12" hasCustomPrompt="1"/>
          </p:nvPr>
        </p:nvSpPr>
        <p:spPr>
          <a:xfrm>
            <a:off x="479424" y="5748020"/>
            <a:ext cx="3600000" cy="252000"/>
          </a:xfrm>
        </p:spPr>
        <p:txBody>
          <a:bodyPr/>
          <a:lstStyle>
            <a:lvl1pPr>
              <a:defRPr sz="1500" b="1">
                <a:solidFill>
                  <a:schemeClr val="bg1"/>
                </a:solidFill>
              </a:defRPr>
            </a:lvl1pPr>
          </a:lstStyle>
          <a:p>
            <a:pPr lvl="0"/>
            <a:r>
              <a:rPr lang="en-US"/>
              <a:t>Partners presentation</a:t>
            </a:r>
          </a:p>
        </p:txBody>
      </p:sp>
      <p:sp>
        <p:nvSpPr>
          <p:cNvPr id="7" name="Text Placeholder 5">
            <a:extLst>
              <a:ext uri="{FF2B5EF4-FFF2-40B4-BE49-F238E27FC236}">
                <a16:creationId xmlns:a16="http://schemas.microsoft.com/office/drawing/2014/main" id="{15A88D3F-FE5F-0108-D85A-B5C8823FFFE0}"/>
              </a:ext>
            </a:extLst>
          </p:cNvPr>
          <p:cNvSpPr>
            <a:spLocks noGrp="1"/>
          </p:cNvSpPr>
          <p:nvPr>
            <p:ph type="body" sz="quarter" idx="35" hasCustomPrompt="1"/>
          </p:nvPr>
        </p:nvSpPr>
        <p:spPr>
          <a:xfrm>
            <a:off x="381635" y="885953"/>
            <a:ext cx="5727600" cy="199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4" name="Rectangle 3">
            <a:extLst>
              <a:ext uri="{FF2B5EF4-FFF2-40B4-BE49-F238E27FC236}">
                <a16:creationId xmlns:a16="http://schemas.microsoft.com/office/drawing/2014/main" id="{DFC64535-48B0-3AF3-B19E-4B6FF6F3E119}"/>
              </a:ext>
            </a:extLst>
          </p:cNvPr>
          <p:cNvSpPr/>
          <p:nvPr userDrawn="1"/>
        </p:nvSpPr>
        <p:spPr>
          <a:xfrm>
            <a:off x="0" y="0"/>
            <a:ext cx="12192000" cy="19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336752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Image + 1x2">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57ED72E9-1B83-3A26-4A67-E3845C32D42F}"/>
              </a:ext>
            </a:extLst>
          </p:cNvPr>
          <p:cNvSpPr>
            <a:spLocks noGrp="1"/>
          </p:cNvSpPr>
          <p:nvPr>
            <p:ph type="pic" sz="quarter" idx="31" hasCustomPrompt="1"/>
          </p:nvPr>
        </p:nvSpPr>
        <p:spPr>
          <a:xfrm>
            <a:off x="0" y="135810"/>
            <a:ext cx="3743326" cy="6722190"/>
          </a:xfrm>
          <a:prstGeom prst="rect">
            <a:avLst/>
          </a:prstGeom>
          <a:solidFill>
            <a:schemeClr val="bg1">
              <a:lumMod val="95000"/>
            </a:schemeClr>
          </a:solidFill>
        </p:spPr>
        <p:txBody>
          <a:bodyPr wrap="square" anchor="ctr" anchorCtr="1">
            <a:noAutofit/>
          </a:bodyPr>
          <a:lstStyle>
            <a:lvl1pPr algn="ctr">
              <a:defRPr/>
            </a:lvl1pPr>
          </a:lstStyle>
          <a:p>
            <a:r>
              <a:rPr lang="en-AU"/>
              <a:t>Click on icon to insert image and send to back</a:t>
            </a:r>
          </a:p>
        </p:txBody>
      </p:sp>
      <p:sp>
        <p:nvSpPr>
          <p:cNvPr id="3" name="Content Placeholder 2">
            <a:extLst>
              <a:ext uri="{FF2B5EF4-FFF2-40B4-BE49-F238E27FC236}">
                <a16:creationId xmlns:a16="http://schemas.microsoft.com/office/drawing/2014/main" id="{2E316D87-7007-ABF0-6579-8A2B65055FBA}"/>
              </a:ext>
            </a:extLst>
          </p:cNvPr>
          <p:cNvSpPr>
            <a:spLocks noGrp="1"/>
          </p:cNvSpPr>
          <p:nvPr>
            <p:ph idx="1"/>
          </p:nvPr>
        </p:nvSpPr>
        <p:spPr>
          <a:xfrm>
            <a:off x="5051425" y="608012"/>
            <a:ext cx="6661150" cy="23832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2">
            <a:extLst>
              <a:ext uri="{FF2B5EF4-FFF2-40B4-BE49-F238E27FC236}">
                <a16:creationId xmlns:a16="http://schemas.microsoft.com/office/drawing/2014/main" id="{FEB10E0B-FC0A-9FFD-D8C6-0FC4F60355BF}"/>
              </a:ext>
            </a:extLst>
          </p:cNvPr>
          <p:cNvSpPr>
            <a:spLocks noGrp="1"/>
          </p:cNvSpPr>
          <p:nvPr>
            <p:ph idx="32"/>
          </p:nvPr>
        </p:nvSpPr>
        <p:spPr>
          <a:xfrm>
            <a:off x="5051425" y="3509564"/>
            <a:ext cx="6661150" cy="2383236"/>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Slide Number Placeholder 1">
            <a:extLst>
              <a:ext uri="{FF2B5EF4-FFF2-40B4-BE49-F238E27FC236}">
                <a16:creationId xmlns:a16="http://schemas.microsoft.com/office/drawing/2014/main" id="{C493C8CD-E8EA-3A6A-7D6A-15401D8212A3}"/>
              </a:ext>
            </a:extLst>
          </p:cNvPr>
          <p:cNvSpPr>
            <a:spLocks noGrp="1"/>
          </p:cNvSpPr>
          <p:nvPr>
            <p:ph type="sldNum" sz="quarter" idx="33"/>
          </p:nvPr>
        </p:nvSpPr>
        <p:spPr>
          <a:xfrm>
            <a:off x="479425" y="6339948"/>
            <a:ext cx="173038" cy="169200"/>
          </a:xfrm>
        </p:spPr>
        <p:txBody>
          <a:bodyPr/>
          <a:lstStyle>
            <a:lvl1pPr>
              <a:defRPr>
                <a:solidFill>
                  <a:schemeClr val="tx1"/>
                </a:solidFill>
              </a:defRPr>
            </a:lvl1pPr>
          </a:lstStyle>
          <a:p>
            <a:fld id="{E4C2AD82-1025-4508-97C1-6F7EE5C92734}" type="slidenum">
              <a:rPr lang="en-AU" smtClean="0"/>
              <a:pPr/>
              <a:t>‹#›</a:t>
            </a:fld>
            <a:endParaRPr lang="en-AU"/>
          </a:p>
        </p:txBody>
      </p:sp>
      <p:sp>
        <p:nvSpPr>
          <p:cNvPr id="17" name="Text Placeholder 23">
            <a:extLst>
              <a:ext uri="{FF2B5EF4-FFF2-40B4-BE49-F238E27FC236}">
                <a16:creationId xmlns:a16="http://schemas.microsoft.com/office/drawing/2014/main" id="{DCE8C4A1-FF5D-0861-37E0-7946A9C90259}"/>
              </a:ext>
            </a:extLst>
          </p:cNvPr>
          <p:cNvSpPr>
            <a:spLocks noGrp="1"/>
          </p:cNvSpPr>
          <p:nvPr>
            <p:ph type="body" sz="quarter" idx="24"/>
          </p:nvPr>
        </p:nvSpPr>
        <p:spPr>
          <a:xfrm>
            <a:off x="479425" y="1668864"/>
            <a:ext cx="2448243" cy="3867232"/>
          </a:xfrm>
        </p:spPr>
        <p:txBody>
          <a:bodyPr/>
          <a:lstStyle>
            <a:lvl1pPr>
              <a:defRPr sz="1600" b="0">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12" name="Title 1">
            <a:extLst>
              <a:ext uri="{FF2B5EF4-FFF2-40B4-BE49-F238E27FC236}">
                <a16:creationId xmlns:a16="http://schemas.microsoft.com/office/drawing/2014/main" id="{F7229174-CAA9-2640-8BC2-5DBCD2D35DDF}"/>
              </a:ext>
            </a:extLst>
          </p:cNvPr>
          <p:cNvSpPr>
            <a:spLocks noGrp="1"/>
          </p:cNvSpPr>
          <p:nvPr>
            <p:ph type="title" hasCustomPrompt="1"/>
          </p:nvPr>
        </p:nvSpPr>
        <p:spPr>
          <a:xfrm>
            <a:off x="479426" y="626164"/>
            <a:ext cx="2448243" cy="798775"/>
          </a:xfrm>
        </p:spPr>
        <p:txBody>
          <a:bodyPr anchor="b" anchorCtr="0"/>
          <a:lstStyle>
            <a:lvl1pPr>
              <a:defRPr>
                <a:solidFill>
                  <a:schemeClr val="tx1"/>
                </a:solidFill>
              </a:defRPr>
            </a:lvl1pPr>
          </a:lstStyle>
          <a:p>
            <a:r>
              <a:rPr lang="en-US"/>
              <a:t>Main Title Goes Here</a:t>
            </a:r>
            <a:endParaRPr lang="en-AU"/>
          </a:p>
        </p:txBody>
      </p:sp>
      <p:sp>
        <p:nvSpPr>
          <p:cNvPr id="4" name="Footer Placeholder 4">
            <a:extLst>
              <a:ext uri="{FF2B5EF4-FFF2-40B4-BE49-F238E27FC236}">
                <a16:creationId xmlns:a16="http://schemas.microsoft.com/office/drawing/2014/main" id="{FD67A48F-9EE7-6AC4-18D6-B05F67F30FE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607976506"/>
      </p:ext>
    </p:extLst>
  </p:cSld>
  <p:clrMapOvr>
    <a:masterClrMapping/>
  </p:clrMapOvr>
  <p:extLst>
    <p:ext uri="{DCECCB84-F9BA-43D5-87BE-67443E8EF086}">
      <p15:sldGuideLst xmlns:p15="http://schemas.microsoft.com/office/powerpoint/2012/main">
        <p15:guide id="3" pos="3182" userDrawn="1">
          <p15:clr>
            <a:srgbClr val="FBAE40"/>
          </p15:clr>
        </p15:guide>
        <p15:guide id="4" pos="281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Image + 1x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83887CF3-06D4-2741-A7EC-1328106CFFC1}"/>
              </a:ext>
            </a:extLst>
          </p:cNvPr>
          <p:cNvSpPr>
            <a:spLocks noGrp="1"/>
          </p:cNvSpPr>
          <p:nvPr>
            <p:ph idx="15" hasCustomPrompt="1"/>
          </p:nvPr>
        </p:nvSpPr>
        <p:spPr>
          <a:xfrm>
            <a:off x="0" y="138818"/>
            <a:ext cx="3743326" cy="6719182"/>
          </a:xfrm>
          <a:blipFill dpi="0" rotWithShape="1">
            <a:blip r:embed="rId2">
              <a:alphaModFix amt="50000"/>
            </a:blip>
            <a:srcRect/>
            <a:stretch>
              <a:fillRect l="-86043" r="-86043"/>
            </a:stretch>
          </a:blipFill>
        </p:spPr>
        <p:txBody>
          <a:bodyPr lIns="180000" tIns="180000" rIns="180000" bIns="180000"/>
          <a:lstStyle>
            <a:lvl1pPr>
              <a:spcAft>
                <a:spcPts val="1800"/>
              </a:spcAft>
              <a:defRPr>
                <a:solidFill>
                  <a:schemeClr val="tx1"/>
                </a:solidFill>
              </a:defRPr>
            </a:lvl1pPr>
            <a:lvl2pPr marL="171450" indent="-171450">
              <a:spcAft>
                <a:spcPts val="0"/>
              </a:spcAft>
              <a:buClrTx/>
              <a:buFont typeface="Arial" panose="020B0604020202020204" pitchFamily="34" charset="0"/>
              <a:buChar char="›"/>
              <a:defRPr sz="1400"/>
            </a:lvl2pPr>
            <a:lvl3pPr marL="358775" indent="-179388">
              <a:spcBef>
                <a:spcPts val="600"/>
              </a:spcBef>
              <a:spcAft>
                <a:spcPts val="600"/>
              </a:spcAft>
              <a:buFont typeface="Arial" panose="020B0604020202020204" pitchFamily="34" charset="0"/>
              <a:buChar char="•"/>
              <a:tabLst>
                <a:tab pos="179388" algn="l"/>
              </a:tabLst>
              <a:defRPr/>
            </a:lvl3pPr>
            <a:lvl4pPr marL="0" indent="0">
              <a:spcBef>
                <a:spcPts val="1800"/>
              </a:spcBef>
              <a:buNone/>
              <a:defRPr sz="1200"/>
            </a:lvl4pPr>
          </a:lstStyle>
          <a:p>
            <a:pPr lvl="0"/>
            <a:r>
              <a:rPr lang="en-US"/>
              <a:t> </a:t>
            </a:r>
            <a:endParaRPr lang="en-AU"/>
          </a:p>
        </p:txBody>
      </p:sp>
      <p:sp>
        <p:nvSpPr>
          <p:cNvPr id="18" name="Slide Number Placeholder 1">
            <a:extLst>
              <a:ext uri="{FF2B5EF4-FFF2-40B4-BE49-F238E27FC236}">
                <a16:creationId xmlns:a16="http://schemas.microsoft.com/office/drawing/2014/main" id="{C493C8CD-E8EA-3A6A-7D6A-15401D8212A3}"/>
              </a:ext>
            </a:extLst>
          </p:cNvPr>
          <p:cNvSpPr>
            <a:spLocks noGrp="1"/>
          </p:cNvSpPr>
          <p:nvPr>
            <p:ph type="sldNum" sz="quarter" idx="33"/>
          </p:nvPr>
        </p:nvSpPr>
        <p:spPr>
          <a:xfrm>
            <a:off x="479425" y="6339948"/>
            <a:ext cx="173038" cy="169200"/>
          </a:xfrm>
        </p:spPr>
        <p:txBody>
          <a:bodyPr/>
          <a:lstStyle>
            <a:lvl1pPr>
              <a:defRPr>
                <a:solidFill>
                  <a:schemeClr val="tx1"/>
                </a:solidFill>
              </a:defRPr>
            </a:lvl1pPr>
          </a:lstStyle>
          <a:p>
            <a:fld id="{E4C2AD82-1025-4508-97C1-6F7EE5C92734}" type="slidenum">
              <a:rPr lang="en-AU" smtClean="0"/>
              <a:pPr/>
              <a:t>‹#›</a:t>
            </a:fld>
            <a:endParaRPr lang="en-AU"/>
          </a:p>
        </p:txBody>
      </p:sp>
      <p:sp>
        <p:nvSpPr>
          <p:cNvPr id="17" name="Text Placeholder 23">
            <a:extLst>
              <a:ext uri="{FF2B5EF4-FFF2-40B4-BE49-F238E27FC236}">
                <a16:creationId xmlns:a16="http://schemas.microsoft.com/office/drawing/2014/main" id="{DCE8C4A1-FF5D-0861-37E0-7946A9C90259}"/>
              </a:ext>
            </a:extLst>
          </p:cNvPr>
          <p:cNvSpPr>
            <a:spLocks noGrp="1"/>
          </p:cNvSpPr>
          <p:nvPr>
            <p:ph type="body" sz="quarter" idx="24"/>
          </p:nvPr>
        </p:nvSpPr>
        <p:spPr>
          <a:xfrm>
            <a:off x="479426" y="1668864"/>
            <a:ext cx="2448244" cy="3867232"/>
          </a:xfrm>
        </p:spPr>
        <p:txBody>
          <a:bodyPr/>
          <a:lstStyle>
            <a:lvl1pPr>
              <a:defRPr sz="1600" b="0">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12" name="Title 1">
            <a:extLst>
              <a:ext uri="{FF2B5EF4-FFF2-40B4-BE49-F238E27FC236}">
                <a16:creationId xmlns:a16="http://schemas.microsoft.com/office/drawing/2014/main" id="{F7229174-CAA9-2640-8BC2-5DBCD2D35DDF}"/>
              </a:ext>
            </a:extLst>
          </p:cNvPr>
          <p:cNvSpPr>
            <a:spLocks noGrp="1"/>
          </p:cNvSpPr>
          <p:nvPr>
            <p:ph type="title" hasCustomPrompt="1"/>
          </p:nvPr>
        </p:nvSpPr>
        <p:spPr>
          <a:xfrm>
            <a:off x="479426" y="626164"/>
            <a:ext cx="2448243" cy="798775"/>
          </a:xfrm>
        </p:spPr>
        <p:txBody>
          <a:bodyPr anchor="b" anchorCtr="0"/>
          <a:lstStyle>
            <a:lvl1pPr>
              <a:defRPr>
                <a:solidFill>
                  <a:schemeClr val="tx1"/>
                </a:solidFill>
              </a:defRPr>
            </a:lvl1pPr>
          </a:lstStyle>
          <a:p>
            <a:r>
              <a:rPr lang="en-US"/>
              <a:t>Main Title Goes Here</a:t>
            </a:r>
            <a:endParaRPr lang="en-AU"/>
          </a:p>
        </p:txBody>
      </p:sp>
      <p:sp>
        <p:nvSpPr>
          <p:cNvPr id="9" name="Content Placeholder 2">
            <a:extLst>
              <a:ext uri="{FF2B5EF4-FFF2-40B4-BE49-F238E27FC236}">
                <a16:creationId xmlns:a16="http://schemas.microsoft.com/office/drawing/2014/main" id="{6F99E06A-CB86-0840-A6A9-9B9B3F6D11D2}"/>
              </a:ext>
            </a:extLst>
          </p:cNvPr>
          <p:cNvSpPr>
            <a:spLocks noGrp="1"/>
          </p:cNvSpPr>
          <p:nvPr>
            <p:ph idx="1"/>
          </p:nvPr>
        </p:nvSpPr>
        <p:spPr>
          <a:xfrm>
            <a:off x="4770782" y="608013"/>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Content Placeholder 2">
            <a:extLst>
              <a:ext uri="{FF2B5EF4-FFF2-40B4-BE49-F238E27FC236}">
                <a16:creationId xmlns:a16="http://schemas.microsoft.com/office/drawing/2014/main" id="{AB27CDAB-8439-8243-972F-4C833CF7AA18}"/>
              </a:ext>
            </a:extLst>
          </p:cNvPr>
          <p:cNvSpPr>
            <a:spLocks noGrp="1"/>
          </p:cNvSpPr>
          <p:nvPr>
            <p:ph idx="34"/>
          </p:nvPr>
        </p:nvSpPr>
        <p:spPr>
          <a:xfrm>
            <a:off x="7200123" y="608013"/>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Content Placeholder 2">
            <a:extLst>
              <a:ext uri="{FF2B5EF4-FFF2-40B4-BE49-F238E27FC236}">
                <a16:creationId xmlns:a16="http://schemas.microsoft.com/office/drawing/2014/main" id="{F87A074B-DBE2-1F44-9BFD-72438801340C}"/>
              </a:ext>
            </a:extLst>
          </p:cNvPr>
          <p:cNvSpPr>
            <a:spLocks noGrp="1"/>
          </p:cNvSpPr>
          <p:nvPr>
            <p:ph idx="35"/>
          </p:nvPr>
        </p:nvSpPr>
        <p:spPr>
          <a:xfrm>
            <a:off x="9629463" y="608013"/>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Content Placeholder 2">
            <a:extLst>
              <a:ext uri="{FF2B5EF4-FFF2-40B4-BE49-F238E27FC236}">
                <a16:creationId xmlns:a16="http://schemas.microsoft.com/office/drawing/2014/main" id="{98005F9F-1CBA-B640-AA99-78FC56BBB620}"/>
              </a:ext>
            </a:extLst>
          </p:cNvPr>
          <p:cNvSpPr>
            <a:spLocks noGrp="1"/>
          </p:cNvSpPr>
          <p:nvPr>
            <p:ph idx="36"/>
          </p:nvPr>
        </p:nvSpPr>
        <p:spPr>
          <a:xfrm>
            <a:off x="4770782" y="3423929"/>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Content Placeholder 2">
            <a:extLst>
              <a:ext uri="{FF2B5EF4-FFF2-40B4-BE49-F238E27FC236}">
                <a16:creationId xmlns:a16="http://schemas.microsoft.com/office/drawing/2014/main" id="{5AAF03A0-A148-974A-B382-4289A73505D7}"/>
              </a:ext>
            </a:extLst>
          </p:cNvPr>
          <p:cNvSpPr>
            <a:spLocks noGrp="1"/>
          </p:cNvSpPr>
          <p:nvPr>
            <p:ph idx="37"/>
          </p:nvPr>
        </p:nvSpPr>
        <p:spPr>
          <a:xfrm>
            <a:off x="7200123" y="3423929"/>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Content Placeholder 2">
            <a:extLst>
              <a:ext uri="{FF2B5EF4-FFF2-40B4-BE49-F238E27FC236}">
                <a16:creationId xmlns:a16="http://schemas.microsoft.com/office/drawing/2014/main" id="{92A9363D-27C7-7D49-92B0-91C7DB5CF824}"/>
              </a:ext>
            </a:extLst>
          </p:cNvPr>
          <p:cNvSpPr>
            <a:spLocks noGrp="1"/>
          </p:cNvSpPr>
          <p:nvPr>
            <p:ph idx="38"/>
          </p:nvPr>
        </p:nvSpPr>
        <p:spPr>
          <a:xfrm>
            <a:off x="9629463" y="3423929"/>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Footer Placeholder 4">
            <a:extLst>
              <a:ext uri="{FF2B5EF4-FFF2-40B4-BE49-F238E27FC236}">
                <a16:creationId xmlns:a16="http://schemas.microsoft.com/office/drawing/2014/main" id="{086CF27E-2F61-8E84-A0B0-BA3BDF703914}"/>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430740773"/>
      </p:ext>
    </p:extLst>
  </p:cSld>
  <p:clrMapOvr>
    <a:masterClrMapping/>
  </p:clrMapOvr>
  <p:extLst>
    <p:ext uri="{DCECCB84-F9BA-43D5-87BE-67443E8EF086}">
      <p15:sldGuideLst xmlns:p15="http://schemas.microsoft.com/office/powerpoint/2012/main">
        <p15:guide id="3" pos="3182">
          <p15:clr>
            <a:srgbClr val="FBAE40"/>
          </p15:clr>
        </p15:guide>
        <p15:guide id="4" pos="281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Image + 1x2">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B1BF572F-9823-4BA6-8229-F7DD71D5D6A4}"/>
              </a:ext>
            </a:extLst>
          </p:cNvPr>
          <p:cNvSpPr>
            <a:spLocks noGrp="1"/>
          </p:cNvSpPr>
          <p:nvPr>
            <p:ph type="pic" sz="quarter" idx="31" hasCustomPrompt="1"/>
          </p:nvPr>
        </p:nvSpPr>
        <p:spPr>
          <a:xfrm>
            <a:off x="0" y="135810"/>
            <a:ext cx="3743326" cy="6722190"/>
          </a:xfrm>
          <a:prstGeom prst="rect">
            <a:avLst/>
          </a:prstGeom>
          <a:solidFill>
            <a:schemeClr val="bg1">
              <a:lumMod val="95000"/>
            </a:schemeClr>
          </a:solidFill>
        </p:spPr>
        <p:txBody>
          <a:bodyPr wrap="square" anchor="ctr" anchorCtr="1">
            <a:noAutofit/>
          </a:bodyPr>
          <a:lstStyle>
            <a:lvl1pPr algn="ctr">
              <a:defRPr/>
            </a:lvl1pPr>
          </a:lstStyle>
          <a:p>
            <a:r>
              <a:rPr lang="en-AU"/>
              <a:t>Click on icon to insert image and send to back</a:t>
            </a:r>
          </a:p>
        </p:txBody>
      </p:sp>
      <p:sp>
        <p:nvSpPr>
          <p:cNvPr id="13" name="Text Placeholder 23">
            <a:extLst>
              <a:ext uri="{FF2B5EF4-FFF2-40B4-BE49-F238E27FC236}">
                <a16:creationId xmlns:a16="http://schemas.microsoft.com/office/drawing/2014/main" id="{8ADA526D-5356-32AE-569B-C7FF4CB3D4D1}"/>
              </a:ext>
            </a:extLst>
          </p:cNvPr>
          <p:cNvSpPr>
            <a:spLocks noGrp="1"/>
          </p:cNvSpPr>
          <p:nvPr>
            <p:ph type="body" sz="quarter" idx="24"/>
          </p:nvPr>
        </p:nvSpPr>
        <p:spPr>
          <a:xfrm>
            <a:off x="479425" y="1668864"/>
            <a:ext cx="2448243" cy="3867232"/>
          </a:xfrm>
        </p:spPr>
        <p:txBody>
          <a:bodyPr/>
          <a:lstStyle>
            <a:lvl1pPr>
              <a:defRPr sz="1600" b="0">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14" name="Title 1">
            <a:extLst>
              <a:ext uri="{FF2B5EF4-FFF2-40B4-BE49-F238E27FC236}">
                <a16:creationId xmlns:a16="http://schemas.microsoft.com/office/drawing/2014/main" id="{F66A9B87-3A8F-9F0C-7B38-6627A28CD690}"/>
              </a:ext>
            </a:extLst>
          </p:cNvPr>
          <p:cNvSpPr>
            <a:spLocks noGrp="1"/>
          </p:cNvSpPr>
          <p:nvPr>
            <p:ph type="title" hasCustomPrompt="1"/>
          </p:nvPr>
        </p:nvSpPr>
        <p:spPr>
          <a:xfrm>
            <a:off x="479426" y="626164"/>
            <a:ext cx="2448243" cy="798775"/>
          </a:xfrm>
        </p:spPr>
        <p:txBody>
          <a:bodyPr anchor="b" anchorCtr="0"/>
          <a:lstStyle>
            <a:lvl1pPr>
              <a:defRPr>
                <a:solidFill>
                  <a:schemeClr val="tx1"/>
                </a:solidFill>
              </a:defRPr>
            </a:lvl1pPr>
          </a:lstStyle>
          <a:p>
            <a:r>
              <a:rPr lang="en-US"/>
              <a:t>Main Title Goes Here</a:t>
            </a:r>
            <a:endParaRPr lang="en-AU"/>
          </a:p>
        </p:txBody>
      </p:sp>
      <p:sp>
        <p:nvSpPr>
          <p:cNvPr id="18" name="Slide Number Placeholder 1">
            <a:extLst>
              <a:ext uri="{FF2B5EF4-FFF2-40B4-BE49-F238E27FC236}">
                <a16:creationId xmlns:a16="http://schemas.microsoft.com/office/drawing/2014/main" id="{C493C8CD-E8EA-3A6A-7D6A-15401D8212A3}"/>
              </a:ext>
            </a:extLst>
          </p:cNvPr>
          <p:cNvSpPr>
            <a:spLocks noGrp="1"/>
          </p:cNvSpPr>
          <p:nvPr>
            <p:ph type="sldNum" sz="quarter" idx="33"/>
          </p:nvPr>
        </p:nvSpPr>
        <p:spPr>
          <a:xfrm>
            <a:off x="479425" y="6339948"/>
            <a:ext cx="173038" cy="169200"/>
          </a:xfrm>
        </p:spPr>
        <p:txBody>
          <a:bodyPr/>
          <a:lstStyle>
            <a:lvl1pPr>
              <a:defRPr>
                <a:solidFill>
                  <a:schemeClr val="tx1"/>
                </a:solidFill>
              </a:defRPr>
            </a:lvl1pPr>
          </a:lstStyle>
          <a:p>
            <a:fld id="{E4C2AD82-1025-4508-97C1-6F7EE5C92734}" type="slidenum">
              <a:rPr lang="en-AU" smtClean="0"/>
              <a:pPr/>
              <a:t>‹#›</a:t>
            </a:fld>
            <a:endParaRPr lang="en-AU"/>
          </a:p>
        </p:txBody>
      </p:sp>
      <p:sp>
        <p:nvSpPr>
          <p:cNvPr id="4" name="Content Placeholder 2">
            <a:extLst>
              <a:ext uri="{FF2B5EF4-FFF2-40B4-BE49-F238E27FC236}">
                <a16:creationId xmlns:a16="http://schemas.microsoft.com/office/drawing/2014/main" id="{5A6680D6-0789-31BB-B390-D269685B9C8B}"/>
              </a:ext>
            </a:extLst>
          </p:cNvPr>
          <p:cNvSpPr>
            <a:spLocks noGrp="1"/>
          </p:cNvSpPr>
          <p:nvPr>
            <p:ph idx="1"/>
          </p:nvPr>
        </p:nvSpPr>
        <p:spPr>
          <a:xfrm>
            <a:off x="4770782" y="608013"/>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Content Placeholder 2">
            <a:extLst>
              <a:ext uri="{FF2B5EF4-FFF2-40B4-BE49-F238E27FC236}">
                <a16:creationId xmlns:a16="http://schemas.microsoft.com/office/drawing/2014/main" id="{0F32A64B-9A24-66FB-39F1-DF3ECD1749AC}"/>
              </a:ext>
            </a:extLst>
          </p:cNvPr>
          <p:cNvSpPr>
            <a:spLocks noGrp="1"/>
          </p:cNvSpPr>
          <p:nvPr>
            <p:ph idx="34"/>
          </p:nvPr>
        </p:nvSpPr>
        <p:spPr>
          <a:xfrm>
            <a:off x="7200123" y="608013"/>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a:extLst>
              <a:ext uri="{FF2B5EF4-FFF2-40B4-BE49-F238E27FC236}">
                <a16:creationId xmlns:a16="http://schemas.microsoft.com/office/drawing/2014/main" id="{12500125-1037-D9F5-C225-A2FB935780B0}"/>
              </a:ext>
            </a:extLst>
          </p:cNvPr>
          <p:cNvSpPr>
            <a:spLocks noGrp="1"/>
          </p:cNvSpPr>
          <p:nvPr>
            <p:ph idx="35"/>
          </p:nvPr>
        </p:nvSpPr>
        <p:spPr>
          <a:xfrm>
            <a:off x="9629463" y="608013"/>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Content Placeholder 2">
            <a:extLst>
              <a:ext uri="{FF2B5EF4-FFF2-40B4-BE49-F238E27FC236}">
                <a16:creationId xmlns:a16="http://schemas.microsoft.com/office/drawing/2014/main" id="{0BC34B2C-2150-2D5F-853C-E4B797566817}"/>
              </a:ext>
            </a:extLst>
          </p:cNvPr>
          <p:cNvSpPr>
            <a:spLocks noGrp="1"/>
          </p:cNvSpPr>
          <p:nvPr>
            <p:ph idx="36"/>
          </p:nvPr>
        </p:nvSpPr>
        <p:spPr>
          <a:xfrm>
            <a:off x="4770782" y="3423929"/>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2">
            <a:extLst>
              <a:ext uri="{FF2B5EF4-FFF2-40B4-BE49-F238E27FC236}">
                <a16:creationId xmlns:a16="http://schemas.microsoft.com/office/drawing/2014/main" id="{4EFD0053-B7E7-2401-FE36-CAC93AEAE0DA}"/>
              </a:ext>
            </a:extLst>
          </p:cNvPr>
          <p:cNvSpPr>
            <a:spLocks noGrp="1"/>
          </p:cNvSpPr>
          <p:nvPr>
            <p:ph idx="37"/>
          </p:nvPr>
        </p:nvSpPr>
        <p:spPr>
          <a:xfrm>
            <a:off x="7200123" y="3423929"/>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2">
            <a:extLst>
              <a:ext uri="{FF2B5EF4-FFF2-40B4-BE49-F238E27FC236}">
                <a16:creationId xmlns:a16="http://schemas.microsoft.com/office/drawing/2014/main" id="{D567E893-CC64-E2A8-5489-5211CD72DF97}"/>
              </a:ext>
            </a:extLst>
          </p:cNvPr>
          <p:cNvSpPr>
            <a:spLocks noGrp="1"/>
          </p:cNvSpPr>
          <p:nvPr>
            <p:ph idx="38"/>
          </p:nvPr>
        </p:nvSpPr>
        <p:spPr>
          <a:xfrm>
            <a:off x="9629463" y="3423929"/>
            <a:ext cx="2037522" cy="2461988"/>
          </a:xfrm>
        </p:spPr>
        <p:txBody>
          <a:bodyPr/>
          <a:lstStyle>
            <a:lvl1pPr>
              <a:spcBef>
                <a:spcPts val="0"/>
              </a:spcBef>
              <a:spcAft>
                <a:spcPts val="600"/>
              </a:spcAft>
              <a:defRPr sz="1200"/>
            </a:lvl1pPr>
            <a:lvl2pPr marL="180000" indent="-180000">
              <a:spcBef>
                <a:spcPts val="0"/>
              </a:spcBef>
              <a:spcAft>
                <a:spcPts val="600"/>
              </a:spcAft>
              <a:buFont typeface="Arial" panose="020B0604020202020204" pitchFamily="34" charset="0"/>
              <a:buChar char="•"/>
              <a:defRPr sz="1200"/>
            </a:lvl2pPr>
            <a:lvl3pPr marL="360363" indent="-180000">
              <a:spcBef>
                <a:spcPts val="0"/>
              </a:spcBef>
              <a:spcAft>
                <a:spcPts val="600"/>
              </a:spcAft>
              <a:buFont typeface="Arial" panose="020B0604020202020204" pitchFamily="34" charset="0"/>
              <a:buChar char="•"/>
              <a:defRPr sz="1200"/>
            </a:lvl3pPr>
            <a:lvl4pPr>
              <a:spcBef>
                <a:spcPts val="0"/>
              </a:spcBef>
              <a:spcAft>
                <a:spcPts val="600"/>
              </a:spcAft>
              <a:defRPr sz="1100"/>
            </a:lvl4pPr>
            <a:lvl5pPr>
              <a:spcBef>
                <a:spcPts val="0"/>
              </a:spcBef>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Footer Placeholder 4">
            <a:extLst>
              <a:ext uri="{FF2B5EF4-FFF2-40B4-BE49-F238E27FC236}">
                <a16:creationId xmlns:a16="http://schemas.microsoft.com/office/drawing/2014/main" id="{8649990B-4921-F118-61C3-BCC4D352A0D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845047824"/>
      </p:ext>
    </p:extLst>
  </p:cSld>
  <p:clrMapOvr>
    <a:masterClrMapping/>
  </p:clrMapOvr>
  <p:extLst>
    <p:ext uri="{DCECCB84-F9BA-43D5-87BE-67443E8EF086}">
      <p15:sldGuideLst xmlns:p15="http://schemas.microsoft.com/office/powerpoint/2012/main">
        <p15:guide id="3" pos="3182" userDrawn="1">
          <p15:clr>
            <a:srgbClr val="FBAE40"/>
          </p15:clr>
        </p15:guide>
        <p15:guide id="4" pos="2816"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 2x2">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1A6B11B0-EC41-3B6B-62DA-90B720649D9F}"/>
              </a:ext>
            </a:extLst>
          </p:cNvPr>
          <p:cNvSpPr>
            <a:spLocks noGrp="1"/>
          </p:cNvSpPr>
          <p:nvPr>
            <p:ph type="pic" sz="quarter" idx="31" hasCustomPrompt="1"/>
          </p:nvPr>
        </p:nvSpPr>
        <p:spPr>
          <a:xfrm>
            <a:off x="0" y="135810"/>
            <a:ext cx="4441370" cy="6722190"/>
          </a:xfrm>
          <a:prstGeom prst="rect">
            <a:avLst/>
          </a:prstGeom>
          <a:solidFill>
            <a:schemeClr val="bg1">
              <a:lumMod val="95000"/>
            </a:schemeClr>
          </a:solidFill>
        </p:spPr>
        <p:txBody>
          <a:bodyPr wrap="square" anchor="ctr" anchorCtr="1">
            <a:noAutofit/>
          </a:bodyPr>
          <a:lstStyle>
            <a:lvl1pPr algn="ctr">
              <a:defRPr/>
            </a:lvl1pPr>
          </a:lstStyle>
          <a:p>
            <a:r>
              <a:rPr lang="en-AU"/>
              <a:t>Click on icon to insert image and send to back</a:t>
            </a:r>
          </a:p>
        </p:txBody>
      </p:sp>
      <p:sp>
        <p:nvSpPr>
          <p:cNvPr id="3" name="Content Placeholder 2">
            <a:extLst>
              <a:ext uri="{FF2B5EF4-FFF2-40B4-BE49-F238E27FC236}">
                <a16:creationId xmlns:a16="http://schemas.microsoft.com/office/drawing/2014/main" id="{50FDD358-1F32-6980-B7A8-AEF07C51C1C4}"/>
              </a:ext>
            </a:extLst>
          </p:cNvPr>
          <p:cNvSpPr>
            <a:spLocks noGrp="1"/>
          </p:cNvSpPr>
          <p:nvPr>
            <p:ph idx="1"/>
          </p:nvPr>
        </p:nvSpPr>
        <p:spPr>
          <a:xfrm>
            <a:off x="5051425" y="2097088"/>
            <a:ext cx="3060700" cy="1800000"/>
          </a:xfrm>
        </p:spPr>
        <p:txBody>
          <a:bodyPr/>
          <a:lstStyle>
            <a:lvl1pPr>
              <a:spcBef>
                <a:spcPts val="0"/>
              </a:spcBef>
              <a:spcAft>
                <a:spcPts val="600"/>
              </a:spcAft>
              <a:defRPr/>
            </a:lvl1pPr>
            <a:lvl2pPr marL="180000" indent="-180000">
              <a:spcBef>
                <a:spcPts val="0"/>
              </a:spcBef>
              <a:spcAft>
                <a:spcPts val="600"/>
              </a:spcAft>
              <a:buFont typeface="Arial" panose="020B0604020202020204" pitchFamily="34" charset="0"/>
              <a:buChar char="•"/>
              <a:defRPr/>
            </a:lvl2pPr>
            <a:lvl3pPr marL="360363" indent="-180000">
              <a:spcBef>
                <a:spcPts val="0"/>
              </a:spcBef>
              <a:spcAft>
                <a:spcPts val="600"/>
              </a:spcAft>
              <a:buFont typeface="Arial" panose="020B0604020202020204" pitchFamily="34" charset="0"/>
              <a:buChar char="•"/>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2">
            <a:extLst>
              <a:ext uri="{FF2B5EF4-FFF2-40B4-BE49-F238E27FC236}">
                <a16:creationId xmlns:a16="http://schemas.microsoft.com/office/drawing/2014/main" id="{3E74D659-B3E4-6452-4350-E90A3FD456BB}"/>
              </a:ext>
            </a:extLst>
          </p:cNvPr>
          <p:cNvSpPr>
            <a:spLocks noGrp="1"/>
          </p:cNvSpPr>
          <p:nvPr>
            <p:ph idx="32"/>
          </p:nvPr>
        </p:nvSpPr>
        <p:spPr>
          <a:xfrm>
            <a:off x="5051425" y="4092800"/>
            <a:ext cx="3060700" cy="1800000"/>
          </a:xfrm>
        </p:spPr>
        <p:txBody>
          <a:bodyPr/>
          <a:lstStyle>
            <a:lvl1pPr>
              <a:spcBef>
                <a:spcPts val="0"/>
              </a:spcBef>
              <a:spcAft>
                <a:spcPts val="600"/>
              </a:spcAft>
              <a:defRPr/>
            </a:lvl1pPr>
            <a:lvl2pPr marL="180000" indent="-180000">
              <a:spcBef>
                <a:spcPts val="0"/>
              </a:spcBef>
              <a:spcAft>
                <a:spcPts val="600"/>
              </a:spcAft>
              <a:buFont typeface="Arial" panose="020B0604020202020204" pitchFamily="34" charset="0"/>
              <a:buChar char="•"/>
              <a:defRPr/>
            </a:lvl2pPr>
            <a:lvl3pPr marL="360363" indent="-180000">
              <a:spcBef>
                <a:spcPts val="0"/>
              </a:spcBef>
              <a:spcAft>
                <a:spcPts val="600"/>
              </a:spcAft>
              <a:buFont typeface="Arial" panose="020B0604020202020204" pitchFamily="34" charset="0"/>
              <a:buChar char="•"/>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9">
            <a:extLst>
              <a:ext uri="{FF2B5EF4-FFF2-40B4-BE49-F238E27FC236}">
                <a16:creationId xmlns:a16="http://schemas.microsoft.com/office/drawing/2014/main" id="{D1CDBD16-7E54-6EB9-BF84-6AF83C52C5A7}"/>
              </a:ext>
            </a:extLst>
          </p:cNvPr>
          <p:cNvSpPr>
            <a:spLocks noGrp="1"/>
          </p:cNvSpPr>
          <p:nvPr>
            <p:ph type="title"/>
          </p:nvPr>
        </p:nvSpPr>
        <p:spPr>
          <a:xfrm>
            <a:off x="5069840" y="626259"/>
            <a:ext cx="6642735" cy="746695"/>
          </a:xfrm>
        </p:spPr>
        <p:txBody>
          <a:bodyPr/>
          <a:lstStyle/>
          <a:p>
            <a:r>
              <a:rPr lang="en-US"/>
              <a:t>Click to edit Master title style</a:t>
            </a:r>
            <a:endParaRPr lang="en-AU"/>
          </a:p>
        </p:txBody>
      </p:sp>
      <p:sp>
        <p:nvSpPr>
          <p:cNvPr id="10" name="Content Placeholder 2">
            <a:extLst>
              <a:ext uri="{FF2B5EF4-FFF2-40B4-BE49-F238E27FC236}">
                <a16:creationId xmlns:a16="http://schemas.microsoft.com/office/drawing/2014/main" id="{559689A4-D648-0C3E-DC51-D1DF0589A462}"/>
              </a:ext>
            </a:extLst>
          </p:cNvPr>
          <p:cNvSpPr>
            <a:spLocks noGrp="1"/>
          </p:cNvSpPr>
          <p:nvPr>
            <p:ph idx="34"/>
          </p:nvPr>
        </p:nvSpPr>
        <p:spPr>
          <a:xfrm>
            <a:off x="8651875" y="2097088"/>
            <a:ext cx="3060700" cy="1800000"/>
          </a:xfrm>
        </p:spPr>
        <p:txBody>
          <a:bodyPr/>
          <a:lstStyle>
            <a:lvl1pPr>
              <a:spcBef>
                <a:spcPts val="0"/>
              </a:spcBef>
              <a:spcAft>
                <a:spcPts val="600"/>
              </a:spcAft>
              <a:defRPr/>
            </a:lvl1pPr>
            <a:lvl2pPr marL="180000" indent="-180000">
              <a:spcBef>
                <a:spcPts val="0"/>
              </a:spcBef>
              <a:spcAft>
                <a:spcPts val="600"/>
              </a:spcAft>
              <a:buFont typeface="Arial" panose="020B0604020202020204" pitchFamily="34" charset="0"/>
              <a:buChar char="•"/>
              <a:defRPr/>
            </a:lvl2pPr>
            <a:lvl3pPr marL="360363" indent="-180000">
              <a:spcBef>
                <a:spcPts val="0"/>
              </a:spcBef>
              <a:spcAft>
                <a:spcPts val="600"/>
              </a:spcAft>
              <a:buFont typeface="Arial" panose="020B0604020202020204" pitchFamily="34" charset="0"/>
              <a:buChar char="•"/>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Content Placeholder 2">
            <a:extLst>
              <a:ext uri="{FF2B5EF4-FFF2-40B4-BE49-F238E27FC236}">
                <a16:creationId xmlns:a16="http://schemas.microsoft.com/office/drawing/2014/main" id="{9E141C4C-42EC-8E2A-CAB5-023672B4F930}"/>
              </a:ext>
            </a:extLst>
          </p:cNvPr>
          <p:cNvSpPr>
            <a:spLocks noGrp="1"/>
          </p:cNvSpPr>
          <p:nvPr>
            <p:ph idx="35"/>
          </p:nvPr>
        </p:nvSpPr>
        <p:spPr>
          <a:xfrm>
            <a:off x="8651875" y="4092800"/>
            <a:ext cx="3060700" cy="1800000"/>
          </a:xfrm>
        </p:spPr>
        <p:txBody>
          <a:bodyPr/>
          <a:lstStyle>
            <a:lvl1pPr>
              <a:spcBef>
                <a:spcPts val="0"/>
              </a:spcBef>
              <a:spcAft>
                <a:spcPts val="600"/>
              </a:spcAft>
              <a:defRPr/>
            </a:lvl1pPr>
            <a:lvl2pPr marL="180000" indent="-180000">
              <a:spcBef>
                <a:spcPts val="0"/>
              </a:spcBef>
              <a:spcAft>
                <a:spcPts val="600"/>
              </a:spcAft>
              <a:buFont typeface="Arial" panose="020B0604020202020204" pitchFamily="34" charset="0"/>
              <a:buChar char="•"/>
              <a:defRPr/>
            </a:lvl2pPr>
            <a:lvl3pPr marL="360363" indent="-180000">
              <a:spcBef>
                <a:spcPts val="0"/>
              </a:spcBef>
              <a:spcAft>
                <a:spcPts val="600"/>
              </a:spcAft>
              <a:buFont typeface="Arial" panose="020B0604020202020204" pitchFamily="34" charset="0"/>
              <a:buChar char="•"/>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Slide Number Placeholder 1">
            <a:extLst>
              <a:ext uri="{FF2B5EF4-FFF2-40B4-BE49-F238E27FC236}">
                <a16:creationId xmlns:a16="http://schemas.microsoft.com/office/drawing/2014/main" id="{B608BDC9-C944-6A8D-9B93-F3A4A5B5E2E2}"/>
              </a:ext>
            </a:extLst>
          </p:cNvPr>
          <p:cNvSpPr>
            <a:spLocks noGrp="1"/>
          </p:cNvSpPr>
          <p:nvPr>
            <p:ph type="sldNum" sz="quarter" idx="36"/>
          </p:nvPr>
        </p:nvSpPr>
        <p:spPr/>
        <p:txBody>
          <a:bodyPr/>
          <a:lstStyle>
            <a:lvl1pPr>
              <a:defRPr>
                <a:solidFill>
                  <a:schemeClr val="bg2"/>
                </a:solidFill>
              </a:defRPr>
            </a:lvl1pPr>
          </a:lstStyle>
          <a:p>
            <a:fld id="{E4C2AD82-1025-4508-97C1-6F7EE5C92734}" type="slidenum">
              <a:rPr lang="en-AU" smtClean="0"/>
              <a:pPr/>
              <a:t>‹#›</a:t>
            </a:fld>
            <a:endParaRPr lang="en-AU"/>
          </a:p>
        </p:txBody>
      </p:sp>
      <p:sp>
        <p:nvSpPr>
          <p:cNvPr id="7" name="Footer Placeholder 4">
            <a:extLst>
              <a:ext uri="{FF2B5EF4-FFF2-40B4-BE49-F238E27FC236}">
                <a16:creationId xmlns:a16="http://schemas.microsoft.com/office/drawing/2014/main" id="{85D5A595-2A40-98BF-8300-ABF07424FC58}"/>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4265394750"/>
      </p:ext>
    </p:extLst>
  </p:cSld>
  <p:clrMapOvr>
    <a:masterClrMapping/>
  </p:clrMapOvr>
  <p:extLst>
    <p:ext uri="{DCECCB84-F9BA-43D5-87BE-67443E8EF086}">
      <p15:sldGuideLst xmlns:p15="http://schemas.microsoft.com/office/powerpoint/2012/main">
        <p15:guide id="5" pos="2808" userDrawn="1">
          <p15:clr>
            <a:srgbClr val="FBAE40"/>
          </p15:clr>
        </p15:guide>
        <p15:guide id="6" pos="3182" userDrawn="1">
          <p15:clr>
            <a:srgbClr val="FBAE40"/>
          </p15:clr>
        </p15:guide>
        <p15:guide id="7" pos="5110" userDrawn="1">
          <p15:clr>
            <a:srgbClr val="FBAE40"/>
          </p15:clr>
        </p15:guide>
        <p15:guide id="8" pos="5450"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ircle Image + 2x2">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DE80FBCE-BF39-054F-B6C2-32B3E3CF8FBE}"/>
              </a:ext>
            </a:extLst>
          </p:cNvPr>
          <p:cNvSpPr>
            <a:spLocks noGrp="1"/>
          </p:cNvSpPr>
          <p:nvPr>
            <p:ph type="pic" sz="quarter" idx="31" hasCustomPrompt="1"/>
          </p:nvPr>
        </p:nvSpPr>
        <p:spPr>
          <a:xfrm>
            <a:off x="6718852" y="135810"/>
            <a:ext cx="5473148" cy="6722190"/>
          </a:xfrm>
          <a:prstGeom prst="rect">
            <a:avLst/>
          </a:prstGeom>
          <a:solidFill>
            <a:schemeClr val="bg1">
              <a:lumMod val="95000"/>
            </a:schemeClr>
          </a:solidFill>
        </p:spPr>
        <p:txBody>
          <a:bodyPr wrap="square" anchor="ctr" anchorCtr="1">
            <a:noAutofit/>
          </a:bodyPr>
          <a:lstStyle>
            <a:lvl1pPr algn="ctr">
              <a:defRPr/>
            </a:lvl1pPr>
          </a:lstStyle>
          <a:p>
            <a:r>
              <a:rPr lang="en-AU"/>
              <a:t>Click on icon to insert image and send to back</a:t>
            </a:r>
          </a:p>
        </p:txBody>
      </p:sp>
      <p:sp>
        <p:nvSpPr>
          <p:cNvPr id="2" name="Slide Number Placeholder 1">
            <a:extLst>
              <a:ext uri="{FF2B5EF4-FFF2-40B4-BE49-F238E27FC236}">
                <a16:creationId xmlns:a16="http://schemas.microsoft.com/office/drawing/2014/main" id="{B608BDC9-C944-6A8D-9B93-F3A4A5B5E2E2}"/>
              </a:ext>
            </a:extLst>
          </p:cNvPr>
          <p:cNvSpPr>
            <a:spLocks noGrp="1"/>
          </p:cNvSpPr>
          <p:nvPr>
            <p:ph type="sldNum" sz="quarter" idx="36"/>
          </p:nvPr>
        </p:nvSpPr>
        <p:spPr/>
        <p:txBody>
          <a:bodyPr/>
          <a:lstStyle>
            <a:lvl1pPr>
              <a:defRPr>
                <a:solidFill>
                  <a:schemeClr val="tx1"/>
                </a:solidFill>
              </a:defRPr>
            </a:lvl1pPr>
          </a:lstStyle>
          <a:p>
            <a:fld id="{E4C2AD82-1025-4508-97C1-6F7EE5C92734}" type="slidenum">
              <a:rPr lang="en-AU" smtClean="0"/>
              <a:pPr/>
              <a:t>‹#›</a:t>
            </a:fld>
            <a:endParaRPr lang="en-AU"/>
          </a:p>
        </p:txBody>
      </p:sp>
      <p:sp>
        <p:nvSpPr>
          <p:cNvPr id="27" name="Text Placeholder 10">
            <a:extLst>
              <a:ext uri="{FF2B5EF4-FFF2-40B4-BE49-F238E27FC236}">
                <a16:creationId xmlns:a16="http://schemas.microsoft.com/office/drawing/2014/main" id="{2C778DD4-DA6B-2489-4900-24376351A54A}"/>
              </a:ext>
            </a:extLst>
          </p:cNvPr>
          <p:cNvSpPr>
            <a:spLocks noGrp="1"/>
          </p:cNvSpPr>
          <p:nvPr>
            <p:ph type="body" sz="quarter" idx="26"/>
          </p:nvPr>
        </p:nvSpPr>
        <p:spPr>
          <a:xfrm>
            <a:off x="479425" y="2685326"/>
            <a:ext cx="2512631" cy="1157470"/>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29" name="Text Placeholder 10">
            <a:extLst>
              <a:ext uri="{FF2B5EF4-FFF2-40B4-BE49-F238E27FC236}">
                <a16:creationId xmlns:a16="http://schemas.microsoft.com/office/drawing/2014/main" id="{66D472F3-BBA8-76FC-1425-E65F8B4A0DEF}"/>
              </a:ext>
            </a:extLst>
          </p:cNvPr>
          <p:cNvSpPr>
            <a:spLocks noGrp="1"/>
          </p:cNvSpPr>
          <p:nvPr>
            <p:ph type="body" sz="quarter" idx="38"/>
          </p:nvPr>
        </p:nvSpPr>
        <p:spPr>
          <a:xfrm>
            <a:off x="3359696" y="2685326"/>
            <a:ext cx="2512631" cy="1157470"/>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1" name="Text Placeholder 10">
            <a:extLst>
              <a:ext uri="{FF2B5EF4-FFF2-40B4-BE49-F238E27FC236}">
                <a16:creationId xmlns:a16="http://schemas.microsoft.com/office/drawing/2014/main" id="{D0FD9A97-B2B0-5A7F-F6C3-2A4650AD38DE}"/>
              </a:ext>
            </a:extLst>
          </p:cNvPr>
          <p:cNvSpPr>
            <a:spLocks noGrp="1"/>
          </p:cNvSpPr>
          <p:nvPr>
            <p:ph type="body" sz="quarter" idx="40"/>
          </p:nvPr>
        </p:nvSpPr>
        <p:spPr>
          <a:xfrm>
            <a:off x="479425" y="4725144"/>
            <a:ext cx="2512631" cy="1157470"/>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3" name="Text Placeholder 10">
            <a:extLst>
              <a:ext uri="{FF2B5EF4-FFF2-40B4-BE49-F238E27FC236}">
                <a16:creationId xmlns:a16="http://schemas.microsoft.com/office/drawing/2014/main" id="{2EFD1D58-4203-E485-AF8E-AE59523235B4}"/>
              </a:ext>
            </a:extLst>
          </p:cNvPr>
          <p:cNvSpPr>
            <a:spLocks noGrp="1"/>
          </p:cNvSpPr>
          <p:nvPr>
            <p:ph type="body" sz="quarter" idx="42"/>
          </p:nvPr>
        </p:nvSpPr>
        <p:spPr>
          <a:xfrm>
            <a:off x="3359696" y="4725144"/>
            <a:ext cx="2512631" cy="1157470"/>
          </a:xfrm>
          <a:noFill/>
        </p:spPr>
        <p:txBody>
          <a:bodyPr lIns="0" anchor="t" anchorCtr="0"/>
          <a:lstStyle>
            <a:lvl1pPr>
              <a:spcAft>
                <a:spcPts val="0"/>
              </a:spcAft>
              <a:defRPr sz="1400">
                <a:solidFill>
                  <a:schemeClr val="accent1"/>
                </a:solidFill>
              </a:defRPr>
            </a:lvl1pPr>
            <a:lvl2pPr marL="0" indent="0">
              <a:spcAft>
                <a:spcPts val="0"/>
              </a:spcAft>
              <a:buNone/>
              <a:defRPr/>
            </a:lvl2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60709D6B-3356-7F47-412B-266822791418}"/>
              </a:ext>
            </a:extLst>
          </p:cNvPr>
          <p:cNvSpPr>
            <a:spLocks noGrp="1"/>
          </p:cNvSpPr>
          <p:nvPr>
            <p:ph type="title"/>
          </p:nvPr>
        </p:nvSpPr>
        <p:spPr>
          <a:xfrm>
            <a:off x="479425" y="604203"/>
            <a:ext cx="5376799" cy="746695"/>
          </a:xfrm>
        </p:spPr>
        <p:txBody>
          <a:bodyPr/>
          <a:lstStyle/>
          <a:p>
            <a:r>
              <a:rPr lang="en-US"/>
              <a:t>Click to edit Master title style</a:t>
            </a:r>
            <a:endParaRPr lang="en-AU"/>
          </a:p>
        </p:txBody>
      </p:sp>
      <p:sp>
        <p:nvSpPr>
          <p:cNvPr id="17" name="Text Placeholder 5">
            <a:extLst>
              <a:ext uri="{FF2B5EF4-FFF2-40B4-BE49-F238E27FC236}">
                <a16:creationId xmlns:a16="http://schemas.microsoft.com/office/drawing/2014/main" id="{814DD532-FBBC-F747-9369-BBF709616482}"/>
              </a:ext>
            </a:extLst>
          </p:cNvPr>
          <p:cNvSpPr>
            <a:spLocks noGrp="1" noChangeAspect="1"/>
          </p:cNvSpPr>
          <p:nvPr>
            <p:ph type="body" sz="quarter" idx="43"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4" name="Picture Placeholder 5">
            <a:extLst>
              <a:ext uri="{FF2B5EF4-FFF2-40B4-BE49-F238E27FC236}">
                <a16:creationId xmlns:a16="http://schemas.microsoft.com/office/drawing/2014/main" id="{1EF2A426-D25A-D255-5B9A-53889204AFE4}"/>
              </a:ext>
            </a:extLst>
          </p:cNvPr>
          <p:cNvSpPr>
            <a:spLocks noGrp="1"/>
          </p:cNvSpPr>
          <p:nvPr>
            <p:ph type="pic" sz="quarter" idx="44"/>
          </p:nvPr>
        </p:nvSpPr>
        <p:spPr>
          <a:xfrm>
            <a:off x="479425" y="2097088"/>
            <a:ext cx="504000" cy="504000"/>
          </a:xfrm>
        </p:spPr>
        <p:txBody>
          <a:bodyPr/>
          <a:lstStyle>
            <a:lvl1pPr>
              <a:defRPr sz="800"/>
            </a:lvl1pPr>
          </a:lstStyle>
          <a:p>
            <a:r>
              <a:rPr lang="en-US"/>
              <a:t>Click icon to add picture</a:t>
            </a:r>
            <a:endParaRPr lang="en-GB"/>
          </a:p>
        </p:txBody>
      </p:sp>
      <p:sp>
        <p:nvSpPr>
          <p:cNvPr id="6" name="Picture Placeholder 5">
            <a:extLst>
              <a:ext uri="{FF2B5EF4-FFF2-40B4-BE49-F238E27FC236}">
                <a16:creationId xmlns:a16="http://schemas.microsoft.com/office/drawing/2014/main" id="{56A351E4-3D36-91EE-31C5-5D205C44DD4F}"/>
              </a:ext>
            </a:extLst>
          </p:cNvPr>
          <p:cNvSpPr>
            <a:spLocks noGrp="1"/>
          </p:cNvSpPr>
          <p:nvPr>
            <p:ph type="pic" sz="quarter" idx="45"/>
          </p:nvPr>
        </p:nvSpPr>
        <p:spPr>
          <a:xfrm>
            <a:off x="3359696" y="2097088"/>
            <a:ext cx="504000" cy="504000"/>
          </a:xfrm>
        </p:spPr>
        <p:txBody>
          <a:bodyPr/>
          <a:lstStyle>
            <a:lvl1pPr>
              <a:defRPr sz="800"/>
            </a:lvl1pPr>
          </a:lstStyle>
          <a:p>
            <a:r>
              <a:rPr lang="en-US"/>
              <a:t>Click icon to add picture</a:t>
            </a:r>
            <a:endParaRPr lang="en-GB"/>
          </a:p>
        </p:txBody>
      </p:sp>
      <p:sp>
        <p:nvSpPr>
          <p:cNvPr id="9" name="Picture Placeholder 5">
            <a:extLst>
              <a:ext uri="{FF2B5EF4-FFF2-40B4-BE49-F238E27FC236}">
                <a16:creationId xmlns:a16="http://schemas.microsoft.com/office/drawing/2014/main" id="{DABF047B-5AD7-6663-76BA-0488933E5DB9}"/>
              </a:ext>
            </a:extLst>
          </p:cNvPr>
          <p:cNvSpPr>
            <a:spLocks noGrp="1"/>
          </p:cNvSpPr>
          <p:nvPr>
            <p:ph type="pic" sz="quarter" idx="50"/>
          </p:nvPr>
        </p:nvSpPr>
        <p:spPr>
          <a:xfrm>
            <a:off x="479425" y="4141033"/>
            <a:ext cx="504000" cy="504000"/>
          </a:xfrm>
        </p:spPr>
        <p:txBody>
          <a:bodyPr/>
          <a:lstStyle>
            <a:lvl1pPr>
              <a:defRPr sz="800"/>
            </a:lvl1pPr>
          </a:lstStyle>
          <a:p>
            <a:r>
              <a:rPr lang="en-US"/>
              <a:t>Click icon to add picture</a:t>
            </a:r>
            <a:endParaRPr lang="en-GB"/>
          </a:p>
        </p:txBody>
      </p:sp>
      <p:sp>
        <p:nvSpPr>
          <p:cNvPr id="10" name="Picture Placeholder 5">
            <a:extLst>
              <a:ext uri="{FF2B5EF4-FFF2-40B4-BE49-F238E27FC236}">
                <a16:creationId xmlns:a16="http://schemas.microsoft.com/office/drawing/2014/main" id="{2FF22FF7-082E-4929-577B-23A56ECFD6E6}"/>
              </a:ext>
            </a:extLst>
          </p:cNvPr>
          <p:cNvSpPr>
            <a:spLocks noGrp="1"/>
          </p:cNvSpPr>
          <p:nvPr>
            <p:ph type="pic" sz="quarter" idx="51"/>
          </p:nvPr>
        </p:nvSpPr>
        <p:spPr>
          <a:xfrm>
            <a:off x="3359696" y="4141033"/>
            <a:ext cx="504000" cy="504000"/>
          </a:xfrm>
        </p:spPr>
        <p:txBody>
          <a:bodyPr/>
          <a:lstStyle>
            <a:lvl1pPr>
              <a:defRPr sz="800"/>
            </a:lvl1pPr>
          </a:lstStyle>
          <a:p>
            <a:r>
              <a:rPr lang="en-US"/>
              <a:t>Click icon to add picture</a:t>
            </a:r>
            <a:endParaRPr lang="en-GB"/>
          </a:p>
        </p:txBody>
      </p:sp>
      <p:sp>
        <p:nvSpPr>
          <p:cNvPr id="7" name="Footer Placeholder 4">
            <a:extLst>
              <a:ext uri="{FF2B5EF4-FFF2-40B4-BE49-F238E27FC236}">
                <a16:creationId xmlns:a16="http://schemas.microsoft.com/office/drawing/2014/main" id="{41D34A5F-56BC-9302-1B5B-4962AF40760A}"/>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777389536"/>
      </p:ext>
    </p:extLst>
  </p:cSld>
  <p:clrMapOvr>
    <a:masterClrMapping/>
  </p:clrMapOvr>
  <p:extLst>
    <p:ext uri="{DCECCB84-F9BA-43D5-87BE-67443E8EF086}">
      <p15:sldGuideLst xmlns:p15="http://schemas.microsoft.com/office/powerpoint/2012/main">
        <p15:guide id="3" pos="2116" userDrawn="1">
          <p15:clr>
            <a:srgbClr val="FBAE40"/>
          </p15:clr>
        </p15:guide>
        <p15:guide id="4" pos="189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CC497-8C5B-42EA-ACBD-4C1A71D6C0C7}"/>
              </a:ext>
            </a:extLst>
          </p:cNvPr>
          <p:cNvSpPr>
            <a:spLocks noGrp="1"/>
          </p:cNvSpPr>
          <p:nvPr>
            <p:ph type="title"/>
          </p:nvPr>
        </p:nvSpPr>
        <p:spPr>
          <a:xfrm>
            <a:off x="472440" y="608013"/>
            <a:ext cx="11189335" cy="746695"/>
          </a:xfrm>
        </p:spPr>
        <p:txBody>
          <a:bodyPr/>
          <a:lstStyle/>
          <a:p>
            <a:r>
              <a:rPr lang="en-US"/>
              <a:t>Click to edit Master title style</a:t>
            </a:r>
            <a:endParaRPr lang="en-AU"/>
          </a:p>
        </p:txBody>
      </p:sp>
      <p:sp>
        <p:nvSpPr>
          <p:cNvPr id="8" name="Picture Placeholder 3">
            <a:extLst>
              <a:ext uri="{FF2B5EF4-FFF2-40B4-BE49-F238E27FC236}">
                <a16:creationId xmlns:a16="http://schemas.microsoft.com/office/drawing/2014/main" id="{76879E1A-01F4-4C68-99E0-66948BE75074}"/>
              </a:ext>
            </a:extLst>
          </p:cNvPr>
          <p:cNvSpPr>
            <a:spLocks noGrp="1"/>
          </p:cNvSpPr>
          <p:nvPr>
            <p:ph type="pic" sz="quarter" idx="18" hasCustomPrompt="1"/>
          </p:nvPr>
        </p:nvSpPr>
        <p:spPr>
          <a:xfrm>
            <a:off x="483700" y="2097089"/>
            <a:ext cx="2592000" cy="2479738"/>
          </a:xfrm>
          <a:prstGeom prst="rect">
            <a:avLst/>
          </a:prstGeom>
          <a:solidFill>
            <a:schemeClr val="bg1">
              <a:lumMod val="95000"/>
            </a:schemeClr>
          </a:solidFill>
        </p:spPr>
        <p:txBody>
          <a:bodyPr anchor="ctr"/>
          <a:lstStyle>
            <a:lvl1pPr algn="ctr">
              <a:defRPr>
                <a:solidFill>
                  <a:schemeClr val="accent1"/>
                </a:solidFill>
              </a:defRPr>
            </a:lvl1pPr>
          </a:lstStyle>
          <a:p>
            <a:r>
              <a:rPr lang="en-AU"/>
              <a:t>image</a:t>
            </a:r>
          </a:p>
        </p:txBody>
      </p:sp>
      <p:sp>
        <p:nvSpPr>
          <p:cNvPr id="9" name="Picture Placeholder 3">
            <a:extLst>
              <a:ext uri="{FF2B5EF4-FFF2-40B4-BE49-F238E27FC236}">
                <a16:creationId xmlns:a16="http://schemas.microsoft.com/office/drawing/2014/main" id="{530CBA8C-CE2D-4E72-A0B0-C6DF286503F5}"/>
              </a:ext>
            </a:extLst>
          </p:cNvPr>
          <p:cNvSpPr>
            <a:spLocks noGrp="1"/>
          </p:cNvSpPr>
          <p:nvPr>
            <p:ph type="pic" sz="quarter" idx="22" hasCustomPrompt="1"/>
          </p:nvPr>
        </p:nvSpPr>
        <p:spPr>
          <a:xfrm>
            <a:off x="3359808" y="3413062"/>
            <a:ext cx="2592000" cy="2479738"/>
          </a:xfrm>
          <a:prstGeom prst="rect">
            <a:avLst/>
          </a:prstGeom>
          <a:solidFill>
            <a:schemeClr val="bg1">
              <a:lumMod val="95000"/>
            </a:schemeClr>
          </a:solidFill>
        </p:spPr>
        <p:txBody>
          <a:bodyPr anchor="ctr"/>
          <a:lstStyle>
            <a:lvl1pPr algn="ctr">
              <a:defRPr>
                <a:solidFill>
                  <a:schemeClr val="accent1"/>
                </a:solidFill>
              </a:defRPr>
            </a:lvl1pPr>
          </a:lstStyle>
          <a:p>
            <a:r>
              <a:rPr lang="en-AU"/>
              <a:t>image</a:t>
            </a:r>
          </a:p>
        </p:txBody>
      </p:sp>
      <p:sp>
        <p:nvSpPr>
          <p:cNvPr id="10" name="Picture Placeholder 3">
            <a:extLst>
              <a:ext uri="{FF2B5EF4-FFF2-40B4-BE49-F238E27FC236}">
                <a16:creationId xmlns:a16="http://schemas.microsoft.com/office/drawing/2014/main" id="{70EF95D0-315E-4B85-98A3-B5E68A7BEB81}"/>
              </a:ext>
            </a:extLst>
          </p:cNvPr>
          <p:cNvSpPr>
            <a:spLocks noGrp="1"/>
          </p:cNvSpPr>
          <p:nvPr>
            <p:ph type="pic" sz="quarter" idx="24" hasCustomPrompt="1"/>
          </p:nvPr>
        </p:nvSpPr>
        <p:spPr>
          <a:xfrm>
            <a:off x="6241616" y="2097089"/>
            <a:ext cx="2592000" cy="2479738"/>
          </a:xfrm>
          <a:prstGeom prst="rect">
            <a:avLst/>
          </a:prstGeom>
          <a:solidFill>
            <a:schemeClr val="bg1">
              <a:lumMod val="95000"/>
            </a:schemeClr>
          </a:solidFill>
        </p:spPr>
        <p:txBody>
          <a:bodyPr anchor="ctr"/>
          <a:lstStyle>
            <a:lvl1pPr algn="ctr">
              <a:defRPr>
                <a:solidFill>
                  <a:schemeClr val="accent1"/>
                </a:solidFill>
              </a:defRPr>
            </a:lvl1pPr>
          </a:lstStyle>
          <a:p>
            <a:r>
              <a:rPr lang="en-AU"/>
              <a:t>image</a:t>
            </a:r>
          </a:p>
        </p:txBody>
      </p:sp>
      <p:sp>
        <p:nvSpPr>
          <p:cNvPr id="11" name="Picture Placeholder 3">
            <a:extLst>
              <a:ext uri="{FF2B5EF4-FFF2-40B4-BE49-F238E27FC236}">
                <a16:creationId xmlns:a16="http://schemas.microsoft.com/office/drawing/2014/main" id="{5DD21A6A-074D-4CB0-A3FD-88124639F2FC}"/>
              </a:ext>
            </a:extLst>
          </p:cNvPr>
          <p:cNvSpPr>
            <a:spLocks noGrp="1"/>
          </p:cNvSpPr>
          <p:nvPr>
            <p:ph type="pic" sz="quarter" idx="26" hasCustomPrompt="1"/>
          </p:nvPr>
        </p:nvSpPr>
        <p:spPr>
          <a:xfrm>
            <a:off x="9120575" y="3413062"/>
            <a:ext cx="2592000" cy="2479738"/>
          </a:xfrm>
          <a:prstGeom prst="rect">
            <a:avLst/>
          </a:prstGeom>
          <a:solidFill>
            <a:schemeClr val="bg1">
              <a:lumMod val="95000"/>
            </a:schemeClr>
          </a:solidFill>
        </p:spPr>
        <p:txBody>
          <a:bodyPr anchor="ctr"/>
          <a:lstStyle>
            <a:lvl1pPr algn="ctr">
              <a:defRPr>
                <a:solidFill>
                  <a:schemeClr val="accent1"/>
                </a:solidFill>
              </a:defRPr>
            </a:lvl1pPr>
          </a:lstStyle>
          <a:p>
            <a:r>
              <a:rPr lang="en-AU"/>
              <a:t>image</a:t>
            </a:r>
          </a:p>
        </p:txBody>
      </p:sp>
      <p:sp>
        <p:nvSpPr>
          <p:cNvPr id="23" name="Text Placeholder 22">
            <a:extLst>
              <a:ext uri="{FF2B5EF4-FFF2-40B4-BE49-F238E27FC236}">
                <a16:creationId xmlns:a16="http://schemas.microsoft.com/office/drawing/2014/main" id="{C972A4CB-3327-ADFB-D633-DB876A08D5B9}"/>
              </a:ext>
            </a:extLst>
          </p:cNvPr>
          <p:cNvSpPr>
            <a:spLocks noGrp="1"/>
          </p:cNvSpPr>
          <p:nvPr>
            <p:ph type="body" sz="quarter" idx="65"/>
          </p:nvPr>
        </p:nvSpPr>
        <p:spPr>
          <a:xfrm>
            <a:off x="3359150" y="2097088"/>
            <a:ext cx="2592000" cy="1188000"/>
          </a:xfrm>
          <a:custGeom>
            <a:avLst/>
            <a:gdLst>
              <a:gd name="connsiteX0" fmla="*/ 0 w 2454212"/>
              <a:gd name="connsiteY0" fmla="*/ 0 h 1367954"/>
              <a:gd name="connsiteX1" fmla="*/ 2454212 w 2454212"/>
              <a:gd name="connsiteY1" fmla="*/ 0 h 1367954"/>
              <a:gd name="connsiteX2" fmla="*/ 2454212 w 2454212"/>
              <a:gd name="connsiteY2" fmla="*/ 1367954 h 1367954"/>
              <a:gd name="connsiteX3" fmla="*/ 0 w 2454212"/>
              <a:gd name="connsiteY3" fmla="*/ 1367954 h 1367954"/>
            </a:gdLst>
            <a:ahLst/>
            <a:cxnLst>
              <a:cxn ang="0">
                <a:pos x="connsiteX0" y="connsiteY0"/>
              </a:cxn>
              <a:cxn ang="0">
                <a:pos x="connsiteX1" y="connsiteY1"/>
              </a:cxn>
              <a:cxn ang="0">
                <a:pos x="connsiteX2" y="connsiteY2"/>
              </a:cxn>
              <a:cxn ang="0">
                <a:pos x="connsiteX3" y="connsiteY3"/>
              </a:cxn>
            </a:cxnLst>
            <a:rect l="l" t="t" r="r" b="b"/>
            <a:pathLst>
              <a:path w="2454212" h="1367954">
                <a:moveTo>
                  <a:pt x="0" y="0"/>
                </a:moveTo>
                <a:lnTo>
                  <a:pt x="2454212" y="0"/>
                </a:lnTo>
                <a:lnTo>
                  <a:pt x="2454212" y="1367954"/>
                </a:lnTo>
                <a:lnTo>
                  <a:pt x="0" y="1367954"/>
                </a:lnTo>
                <a:close/>
              </a:path>
            </a:pathLst>
          </a:custGeom>
          <a:solidFill>
            <a:schemeClr val="bg1"/>
          </a:solidFill>
          <a:effectLst>
            <a:outerShdw dist="38100" dir="16200000" rotWithShape="0">
              <a:prstClr val="black"/>
            </a:outerShdw>
          </a:effectLst>
        </p:spPr>
        <p:txBody>
          <a:bodyPr wrap="square" lIns="0" tIns="72000" rIns="0" bIns="0">
            <a:noAutofit/>
          </a:bodyPr>
          <a:lstStyle>
            <a:lvl1pPr>
              <a:spcBef>
                <a:spcPts val="0"/>
              </a:spcBef>
              <a:spcAft>
                <a:spcPts val="0"/>
              </a:spcAft>
              <a:defRPr sz="1200"/>
            </a:lvl1pPr>
            <a:lvl2pPr marL="180000" indent="-180000">
              <a:spcBef>
                <a:spcPts val="0"/>
              </a:spcBef>
              <a:spcAft>
                <a:spcPts val="0"/>
              </a:spcAft>
              <a:buFont typeface="Arial" panose="020B0604020202020204" pitchFamily="34" charset="0"/>
              <a:buChar char="•"/>
              <a:defRPr sz="1200"/>
            </a:lvl2pPr>
            <a:lvl3pPr>
              <a:spcBef>
                <a:spcPts val="0"/>
              </a:spcBef>
              <a:spcAft>
                <a:spcPts val="0"/>
              </a:spcAft>
              <a:defRPr sz="1200"/>
            </a:lvl3pPr>
            <a:lvl4pPr>
              <a:spcBef>
                <a:spcPts val="0"/>
              </a:spcBef>
              <a:spcAft>
                <a:spcPts val="0"/>
              </a:spcAft>
              <a:defRPr sz="1200"/>
            </a:lvl4pPr>
            <a:lvl5pPr>
              <a:spcBef>
                <a:spcPts val="0"/>
              </a:spcBef>
              <a:spcAft>
                <a:spcPts val="0"/>
              </a:spcAft>
              <a:defRPr sz="1200"/>
            </a:lvl5pPr>
          </a:lstStyle>
          <a:p>
            <a:pPr lvl="0"/>
            <a:r>
              <a:rPr lang="en-US"/>
              <a:t>Click to edit Master text styles</a:t>
            </a:r>
          </a:p>
          <a:p>
            <a:pPr lvl="1"/>
            <a:r>
              <a:rPr lang="en-US"/>
              <a:t>Second level</a:t>
            </a:r>
          </a:p>
        </p:txBody>
      </p:sp>
      <p:sp>
        <p:nvSpPr>
          <p:cNvPr id="24" name="Text Placeholder 23">
            <a:extLst>
              <a:ext uri="{FF2B5EF4-FFF2-40B4-BE49-F238E27FC236}">
                <a16:creationId xmlns:a16="http://schemas.microsoft.com/office/drawing/2014/main" id="{46561BE9-454F-55FC-D106-CEABD1A7CBA8}"/>
              </a:ext>
            </a:extLst>
          </p:cNvPr>
          <p:cNvSpPr>
            <a:spLocks noGrp="1"/>
          </p:cNvSpPr>
          <p:nvPr>
            <p:ph type="body" sz="quarter" idx="66"/>
          </p:nvPr>
        </p:nvSpPr>
        <p:spPr>
          <a:xfrm>
            <a:off x="9120575" y="2097089"/>
            <a:ext cx="2592000" cy="1188000"/>
          </a:xfrm>
          <a:custGeom>
            <a:avLst/>
            <a:gdLst>
              <a:gd name="connsiteX0" fmla="*/ 0 w 2454212"/>
              <a:gd name="connsiteY0" fmla="*/ 0 h 1367954"/>
              <a:gd name="connsiteX1" fmla="*/ 2454212 w 2454212"/>
              <a:gd name="connsiteY1" fmla="*/ 0 h 1367954"/>
              <a:gd name="connsiteX2" fmla="*/ 2454212 w 2454212"/>
              <a:gd name="connsiteY2" fmla="*/ 1367954 h 1367954"/>
              <a:gd name="connsiteX3" fmla="*/ 0 w 2454212"/>
              <a:gd name="connsiteY3" fmla="*/ 1367954 h 1367954"/>
            </a:gdLst>
            <a:ahLst/>
            <a:cxnLst>
              <a:cxn ang="0">
                <a:pos x="connsiteX0" y="connsiteY0"/>
              </a:cxn>
              <a:cxn ang="0">
                <a:pos x="connsiteX1" y="connsiteY1"/>
              </a:cxn>
              <a:cxn ang="0">
                <a:pos x="connsiteX2" y="connsiteY2"/>
              </a:cxn>
              <a:cxn ang="0">
                <a:pos x="connsiteX3" y="connsiteY3"/>
              </a:cxn>
            </a:cxnLst>
            <a:rect l="l" t="t" r="r" b="b"/>
            <a:pathLst>
              <a:path w="2454212" h="1367954">
                <a:moveTo>
                  <a:pt x="0" y="0"/>
                </a:moveTo>
                <a:lnTo>
                  <a:pt x="2454212" y="0"/>
                </a:lnTo>
                <a:lnTo>
                  <a:pt x="2454212" y="1367954"/>
                </a:lnTo>
                <a:lnTo>
                  <a:pt x="0" y="1367954"/>
                </a:lnTo>
                <a:close/>
              </a:path>
            </a:pathLst>
          </a:custGeom>
          <a:solidFill>
            <a:schemeClr val="bg1"/>
          </a:solidFill>
          <a:effectLst>
            <a:outerShdw dist="38100" dir="16200000" rotWithShape="0">
              <a:prstClr val="black"/>
            </a:outerShdw>
          </a:effectLst>
        </p:spPr>
        <p:txBody>
          <a:bodyPr wrap="square" lIns="0" tIns="72000" rIns="0" bIns="0">
            <a:noAutofit/>
          </a:bodyPr>
          <a:lstStyle>
            <a:lvl1pPr>
              <a:spcBef>
                <a:spcPts val="0"/>
              </a:spcBef>
              <a:spcAft>
                <a:spcPts val="0"/>
              </a:spcAft>
              <a:defRPr sz="1200"/>
            </a:lvl1pPr>
            <a:lvl2pPr marL="180000" indent="-180000">
              <a:spcBef>
                <a:spcPts val="0"/>
              </a:spcBef>
              <a:spcAft>
                <a:spcPts val="0"/>
              </a:spcAft>
              <a:buFont typeface="Arial" panose="020B0604020202020204" pitchFamily="34" charset="0"/>
              <a:buChar char="•"/>
              <a:defRPr sz="1200"/>
            </a:lvl2pPr>
            <a:lvl3pPr>
              <a:spcBef>
                <a:spcPts val="0"/>
              </a:spcBef>
              <a:spcAft>
                <a:spcPts val="0"/>
              </a:spcAft>
              <a:defRPr sz="1200"/>
            </a:lvl3pPr>
            <a:lvl4pPr>
              <a:spcBef>
                <a:spcPts val="0"/>
              </a:spcBef>
              <a:spcAft>
                <a:spcPts val="0"/>
              </a:spcAft>
              <a:defRPr sz="1200"/>
            </a:lvl4pPr>
            <a:lvl5pPr>
              <a:spcBef>
                <a:spcPts val="0"/>
              </a:spcBef>
              <a:spcAft>
                <a:spcPts val="0"/>
              </a:spcAft>
              <a:defRPr sz="1200"/>
            </a:lvl5pPr>
          </a:lstStyle>
          <a:p>
            <a:pPr lvl="0"/>
            <a:r>
              <a:rPr lang="en-US"/>
              <a:t>Click to edit Master text styles</a:t>
            </a:r>
          </a:p>
          <a:p>
            <a:pPr lvl="1"/>
            <a:r>
              <a:rPr lang="en-US"/>
              <a:t>Second level</a:t>
            </a:r>
          </a:p>
        </p:txBody>
      </p:sp>
      <p:sp>
        <p:nvSpPr>
          <p:cNvPr id="4" name="Slide Number Placeholder 3">
            <a:extLst>
              <a:ext uri="{FF2B5EF4-FFF2-40B4-BE49-F238E27FC236}">
                <a16:creationId xmlns:a16="http://schemas.microsoft.com/office/drawing/2014/main" id="{92C85A66-D23B-A8CF-DC3A-EB7DB35A0ECB}"/>
              </a:ext>
            </a:extLst>
          </p:cNvPr>
          <p:cNvSpPr>
            <a:spLocks noGrp="1"/>
          </p:cNvSpPr>
          <p:nvPr>
            <p:ph type="sldNum" sz="quarter" idx="67"/>
          </p:nvPr>
        </p:nvSpPr>
        <p:spPr/>
        <p:txBody>
          <a:bodyPr/>
          <a:lstStyle/>
          <a:p>
            <a:fld id="{E4C2AD82-1025-4508-97C1-6F7EE5C92734}" type="slidenum">
              <a:rPr lang="en-AU" smtClean="0"/>
              <a:pPr/>
              <a:t>‹#›</a:t>
            </a:fld>
            <a:endParaRPr lang="en-AU"/>
          </a:p>
        </p:txBody>
      </p:sp>
      <p:sp>
        <p:nvSpPr>
          <p:cNvPr id="13" name="Text Placeholder 22">
            <a:extLst>
              <a:ext uri="{FF2B5EF4-FFF2-40B4-BE49-F238E27FC236}">
                <a16:creationId xmlns:a16="http://schemas.microsoft.com/office/drawing/2014/main" id="{67AB77E9-B20E-3A48-90D4-C8E8BF5C0E57}"/>
              </a:ext>
            </a:extLst>
          </p:cNvPr>
          <p:cNvSpPr>
            <a:spLocks noGrp="1"/>
          </p:cNvSpPr>
          <p:nvPr>
            <p:ph type="body" sz="quarter" idx="68"/>
          </p:nvPr>
        </p:nvSpPr>
        <p:spPr>
          <a:xfrm>
            <a:off x="480417" y="4690254"/>
            <a:ext cx="2592000" cy="1188000"/>
          </a:xfrm>
          <a:custGeom>
            <a:avLst/>
            <a:gdLst>
              <a:gd name="connsiteX0" fmla="*/ 0 w 2454212"/>
              <a:gd name="connsiteY0" fmla="*/ 0 h 1367954"/>
              <a:gd name="connsiteX1" fmla="*/ 2454212 w 2454212"/>
              <a:gd name="connsiteY1" fmla="*/ 0 h 1367954"/>
              <a:gd name="connsiteX2" fmla="*/ 2454212 w 2454212"/>
              <a:gd name="connsiteY2" fmla="*/ 1367954 h 1367954"/>
              <a:gd name="connsiteX3" fmla="*/ 0 w 2454212"/>
              <a:gd name="connsiteY3" fmla="*/ 1367954 h 1367954"/>
            </a:gdLst>
            <a:ahLst/>
            <a:cxnLst>
              <a:cxn ang="0">
                <a:pos x="connsiteX0" y="connsiteY0"/>
              </a:cxn>
              <a:cxn ang="0">
                <a:pos x="connsiteX1" y="connsiteY1"/>
              </a:cxn>
              <a:cxn ang="0">
                <a:pos x="connsiteX2" y="connsiteY2"/>
              </a:cxn>
              <a:cxn ang="0">
                <a:pos x="connsiteX3" y="connsiteY3"/>
              </a:cxn>
            </a:cxnLst>
            <a:rect l="l" t="t" r="r" b="b"/>
            <a:pathLst>
              <a:path w="2454212" h="1367954">
                <a:moveTo>
                  <a:pt x="0" y="0"/>
                </a:moveTo>
                <a:lnTo>
                  <a:pt x="2454212" y="0"/>
                </a:lnTo>
                <a:lnTo>
                  <a:pt x="2454212" y="1367954"/>
                </a:lnTo>
                <a:lnTo>
                  <a:pt x="0" y="1367954"/>
                </a:lnTo>
                <a:close/>
              </a:path>
            </a:pathLst>
          </a:custGeom>
          <a:solidFill>
            <a:schemeClr val="bg1"/>
          </a:solidFill>
          <a:effectLst>
            <a:outerShdw dist="38100" dir="16200000" rotWithShape="0">
              <a:prstClr val="black"/>
            </a:outerShdw>
          </a:effectLst>
        </p:spPr>
        <p:txBody>
          <a:bodyPr wrap="square" lIns="0" tIns="72000" rIns="0" bIns="0">
            <a:noAutofit/>
          </a:bodyPr>
          <a:lstStyle>
            <a:lvl1pPr>
              <a:spcBef>
                <a:spcPts val="0"/>
              </a:spcBef>
              <a:spcAft>
                <a:spcPts val="0"/>
              </a:spcAft>
              <a:defRPr sz="1200"/>
            </a:lvl1pPr>
            <a:lvl2pPr marL="180000" indent="-180000">
              <a:spcBef>
                <a:spcPts val="0"/>
              </a:spcBef>
              <a:spcAft>
                <a:spcPts val="0"/>
              </a:spcAft>
              <a:buFont typeface="Arial" panose="020B0604020202020204" pitchFamily="34" charset="0"/>
              <a:buChar char="•"/>
              <a:defRPr sz="1200"/>
            </a:lvl2pPr>
            <a:lvl3pPr>
              <a:spcBef>
                <a:spcPts val="0"/>
              </a:spcBef>
              <a:spcAft>
                <a:spcPts val="0"/>
              </a:spcAft>
              <a:defRPr sz="1200"/>
            </a:lvl3pPr>
            <a:lvl4pPr>
              <a:spcBef>
                <a:spcPts val="0"/>
              </a:spcBef>
              <a:spcAft>
                <a:spcPts val="0"/>
              </a:spcAft>
              <a:defRPr sz="1200"/>
            </a:lvl4pPr>
            <a:lvl5pPr>
              <a:spcBef>
                <a:spcPts val="0"/>
              </a:spcBef>
              <a:spcAft>
                <a:spcPts val="0"/>
              </a:spcAft>
              <a:defRPr sz="1200"/>
            </a:lvl5pPr>
          </a:lstStyle>
          <a:p>
            <a:pPr lvl="0"/>
            <a:r>
              <a:rPr lang="en-US"/>
              <a:t>Click to edit Master text styles</a:t>
            </a:r>
          </a:p>
          <a:p>
            <a:pPr lvl="1"/>
            <a:r>
              <a:rPr lang="en-US"/>
              <a:t>Second level</a:t>
            </a:r>
          </a:p>
        </p:txBody>
      </p:sp>
      <p:sp>
        <p:nvSpPr>
          <p:cNvPr id="14" name="Text Placeholder 23">
            <a:extLst>
              <a:ext uri="{FF2B5EF4-FFF2-40B4-BE49-F238E27FC236}">
                <a16:creationId xmlns:a16="http://schemas.microsoft.com/office/drawing/2014/main" id="{4F5D6D90-E317-8A41-9415-60C76EDBB350}"/>
              </a:ext>
            </a:extLst>
          </p:cNvPr>
          <p:cNvSpPr>
            <a:spLocks noGrp="1"/>
          </p:cNvSpPr>
          <p:nvPr>
            <p:ph type="body" sz="quarter" idx="69"/>
          </p:nvPr>
        </p:nvSpPr>
        <p:spPr>
          <a:xfrm>
            <a:off x="6241842" y="4690255"/>
            <a:ext cx="2592000" cy="1188000"/>
          </a:xfrm>
          <a:custGeom>
            <a:avLst/>
            <a:gdLst>
              <a:gd name="connsiteX0" fmla="*/ 0 w 2454212"/>
              <a:gd name="connsiteY0" fmla="*/ 0 h 1367954"/>
              <a:gd name="connsiteX1" fmla="*/ 2454212 w 2454212"/>
              <a:gd name="connsiteY1" fmla="*/ 0 h 1367954"/>
              <a:gd name="connsiteX2" fmla="*/ 2454212 w 2454212"/>
              <a:gd name="connsiteY2" fmla="*/ 1367954 h 1367954"/>
              <a:gd name="connsiteX3" fmla="*/ 0 w 2454212"/>
              <a:gd name="connsiteY3" fmla="*/ 1367954 h 1367954"/>
            </a:gdLst>
            <a:ahLst/>
            <a:cxnLst>
              <a:cxn ang="0">
                <a:pos x="connsiteX0" y="connsiteY0"/>
              </a:cxn>
              <a:cxn ang="0">
                <a:pos x="connsiteX1" y="connsiteY1"/>
              </a:cxn>
              <a:cxn ang="0">
                <a:pos x="connsiteX2" y="connsiteY2"/>
              </a:cxn>
              <a:cxn ang="0">
                <a:pos x="connsiteX3" y="connsiteY3"/>
              </a:cxn>
            </a:cxnLst>
            <a:rect l="l" t="t" r="r" b="b"/>
            <a:pathLst>
              <a:path w="2454212" h="1367954">
                <a:moveTo>
                  <a:pt x="0" y="0"/>
                </a:moveTo>
                <a:lnTo>
                  <a:pt x="2454212" y="0"/>
                </a:lnTo>
                <a:lnTo>
                  <a:pt x="2454212" y="1367954"/>
                </a:lnTo>
                <a:lnTo>
                  <a:pt x="0" y="1367954"/>
                </a:lnTo>
                <a:close/>
              </a:path>
            </a:pathLst>
          </a:custGeom>
          <a:solidFill>
            <a:schemeClr val="bg1"/>
          </a:solidFill>
          <a:effectLst>
            <a:outerShdw dist="38100" dir="16200000" rotWithShape="0">
              <a:prstClr val="black"/>
            </a:outerShdw>
          </a:effectLst>
        </p:spPr>
        <p:txBody>
          <a:bodyPr wrap="square" lIns="0" tIns="72000" rIns="0" bIns="0">
            <a:noAutofit/>
          </a:bodyPr>
          <a:lstStyle>
            <a:lvl1pPr>
              <a:spcBef>
                <a:spcPts val="0"/>
              </a:spcBef>
              <a:spcAft>
                <a:spcPts val="0"/>
              </a:spcAft>
              <a:defRPr sz="1200"/>
            </a:lvl1pPr>
            <a:lvl2pPr marL="180000" indent="-180000">
              <a:spcBef>
                <a:spcPts val="0"/>
              </a:spcBef>
              <a:spcAft>
                <a:spcPts val="0"/>
              </a:spcAft>
              <a:buFont typeface="Arial" panose="020B0604020202020204" pitchFamily="34" charset="0"/>
              <a:buChar char="•"/>
              <a:defRPr sz="1200"/>
            </a:lvl2pPr>
            <a:lvl3pPr>
              <a:spcBef>
                <a:spcPts val="0"/>
              </a:spcBef>
              <a:spcAft>
                <a:spcPts val="0"/>
              </a:spcAft>
              <a:defRPr sz="1200"/>
            </a:lvl3pPr>
            <a:lvl4pPr>
              <a:spcBef>
                <a:spcPts val="0"/>
              </a:spcBef>
              <a:spcAft>
                <a:spcPts val="0"/>
              </a:spcAft>
              <a:defRPr sz="1200"/>
            </a:lvl4pPr>
            <a:lvl5pPr>
              <a:spcBef>
                <a:spcPts val="0"/>
              </a:spcBef>
              <a:spcAft>
                <a:spcPts val="0"/>
              </a:spcAft>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9F5A1E5E-8C68-9A23-1AA0-D5FA164C83E1}"/>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944194648"/>
      </p:ext>
    </p:extLst>
  </p:cSld>
  <p:clrMapOvr>
    <a:masterClrMapping/>
  </p:clrMapOvr>
  <p:extLst>
    <p:ext uri="{DCECCB84-F9BA-43D5-87BE-67443E8EF086}">
      <p15:sldGuideLst xmlns:p15="http://schemas.microsoft.com/office/powerpoint/2012/main">
        <p15:guide id="7" pos="1958" userDrawn="1">
          <p15:clr>
            <a:srgbClr val="FBAE40"/>
          </p15:clr>
        </p15:guide>
        <p15:guide id="8" pos="2116" userDrawn="1">
          <p15:clr>
            <a:srgbClr val="FBAE40"/>
          </p15:clr>
        </p15:guide>
        <p15:guide id="9" pos="3760" userDrawn="1">
          <p15:clr>
            <a:srgbClr val="FBAE40"/>
          </p15:clr>
        </p15:guide>
        <p15:guide id="10" pos="3928" userDrawn="1">
          <p15:clr>
            <a:srgbClr val="FBAE40"/>
          </p15:clr>
        </p15:guide>
        <p15:guide id="11" pos="5564" userDrawn="1">
          <p15:clr>
            <a:srgbClr val="FBAE40"/>
          </p15:clr>
        </p15:guide>
        <p15:guide id="12" pos="5745"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ure 1 column + 2 stats + image">
    <p:bg>
      <p:bgRef idx="1001">
        <a:schemeClr val="bg1"/>
      </p:bgRef>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C7F407D5-7EDE-854A-86D3-A2BD3DB02494}"/>
              </a:ext>
            </a:extLst>
          </p:cNvPr>
          <p:cNvSpPr>
            <a:spLocks noGrp="1"/>
          </p:cNvSpPr>
          <p:nvPr>
            <p:ph type="body" sz="quarter" idx="82"/>
          </p:nvPr>
        </p:nvSpPr>
        <p:spPr>
          <a:xfrm>
            <a:off x="479425" y="2097087"/>
            <a:ext cx="5108575" cy="3795713"/>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Picture Placeholder 13">
            <a:extLst>
              <a:ext uri="{FF2B5EF4-FFF2-40B4-BE49-F238E27FC236}">
                <a16:creationId xmlns:a16="http://schemas.microsoft.com/office/drawing/2014/main" id="{954C90F5-C9BC-48CA-B77A-ACA7AEBD07BA}"/>
              </a:ext>
            </a:extLst>
          </p:cNvPr>
          <p:cNvSpPr>
            <a:spLocks noGrp="1"/>
          </p:cNvSpPr>
          <p:nvPr>
            <p:ph type="pic" sz="quarter" idx="54" hasCustomPrompt="1"/>
          </p:nvPr>
        </p:nvSpPr>
        <p:spPr>
          <a:xfrm>
            <a:off x="6418629" y="1918790"/>
            <a:ext cx="2700838" cy="27000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a:defRPr lang="en-AU" sz="1800" dirty="0">
                <a:solidFill>
                  <a:schemeClr val="tx1">
                    <a:alpha val="0"/>
                  </a:schemeClr>
                </a:solidFill>
                <a:latin typeface="+mn-lt"/>
                <a:cs typeface="+mn-cs"/>
              </a:defRPr>
            </a:lvl1pPr>
          </a:lstStyle>
          <a:p>
            <a:pPr lvl="0" algn="ctr"/>
            <a:r>
              <a:rPr lang="en-AU"/>
              <a:t>Image placeholder</a:t>
            </a:r>
          </a:p>
        </p:txBody>
      </p:sp>
      <p:sp>
        <p:nvSpPr>
          <p:cNvPr id="8" name="Content Placeholder 58">
            <a:extLst>
              <a:ext uri="{FF2B5EF4-FFF2-40B4-BE49-F238E27FC236}">
                <a16:creationId xmlns:a16="http://schemas.microsoft.com/office/drawing/2014/main" id="{355945AA-164A-4F0C-8563-99900CB69B7A}"/>
              </a:ext>
            </a:extLst>
          </p:cNvPr>
          <p:cNvSpPr>
            <a:spLocks noGrp="1"/>
          </p:cNvSpPr>
          <p:nvPr>
            <p:ph sz="quarter" idx="78" hasCustomPrompt="1"/>
          </p:nvPr>
        </p:nvSpPr>
        <p:spPr>
          <a:xfrm>
            <a:off x="7203900" y="2382319"/>
            <a:ext cx="1130298" cy="678480"/>
          </a:xfrm>
          <a:prstGeom prst="rect">
            <a:avLst/>
          </a:prstGeom>
        </p:spPr>
        <p:txBody>
          <a:bodyPr anchor="ctr"/>
          <a:lstStyle>
            <a:lvl1pPr algn="ctr">
              <a:defRPr sz="3200" b="1">
                <a:solidFill>
                  <a:schemeClr val="bg1"/>
                </a:solidFill>
                <a:latin typeface="+mn-lt"/>
              </a:defRPr>
            </a:lvl1pPr>
          </a:lstStyle>
          <a:p>
            <a:pPr lvl="0"/>
            <a:r>
              <a:rPr lang="en-AU"/>
              <a:t>99%</a:t>
            </a:r>
          </a:p>
        </p:txBody>
      </p:sp>
      <p:sp>
        <p:nvSpPr>
          <p:cNvPr id="10" name="Text Placeholder 58">
            <a:extLst>
              <a:ext uri="{FF2B5EF4-FFF2-40B4-BE49-F238E27FC236}">
                <a16:creationId xmlns:a16="http://schemas.microsoft.com/office/drawing/2014/main" id="{47743944-8EE0-4915-8C37-6F1A933F6199}"/>
              </a:ext>
            </a:extLst>
          </p:cNvPr>
          <p:cNvSpPr>
            <a:spLocks noGrp="1"/>
          </p:cNvSpPr>
          <p:nvPr>
            <p:ph type="body" sz="quarter" idx="80"/>
          </p:nvPr>
        </p:nvSpPr>
        <p:spPr>
          <a:xfrm>
            <a:off x="6697437" y="3200198"/>
            <a:ext cx="2143222" cy="738952"/>
          </a:xfrm>
        </p:spPr>
        <p:txBody>
          <a:bodyPr anchor="t"/>
          <a:lstStyle>
            <a:lvl1pPr algn="ctr">
              <a:spcAft>
                <a:spcPts val="0"/>
              </a:spcAft>
              <a:defRPr sz="1400" b="1">
                <a:solidFill>
                  <a:schemeClr val="bg1"/>
                </a:solidFill>
                <a:latin typeface="+mn-lt"/>
              </a:defRPr>
            </a:lvl1pPr>
            <a:lvl2pPr marL="0" indent="0" algn="ctr">
              <a:spcAft>
                <a:spcPts val="0"/>
              </a:spcAft>
              <a:buNone/>
              <a:defRPr sz="1200" b="0">
                <a:solidFill>
                  <a:schemeClr val="bg1"/>
                </a:solidFill>
                <a:latin typeface="+mn-lt"/>
              </a:defRPr>
            </a:lvl2pPr>
            <a:lvl3pPr marL="0" indent="0">
              <a:buNone/>
              <a:defRPr/>
            </a:lvl3pPr>
          </a:lstStyle>
          <a:p>
            <a:pPr lvl="0"/>
            <a:r>
              <a:rPr lang="en-US"/>
              <a:t>Click to edit Master text styles</a:t>
            </a:r>
          </a:p>
          <a:p>
            <a:pPr lvl="1"/>
            <a:r>
              <a:rPr lang="en-US"/>
              <a:t>Second level</a:t>
            </a:r>
          </a:p>
        </p:txBody>
      </p:sp>
      <p:sp>
        <p:nvSpPr>
          <p:cNvPr id="6" name="Picture Placeholder 13">
            <a:extLst>
              <a:ext uri="{FF2B5EF4-FFF2-40B4-BE49-F238E27FC236}">
                <a16:creationId xmlns:a16="http://schemas.microsoft.com/office/drawing/2014/main" id="{63CC16D4-E7FD-480C-8179-F4C78FB2D717}"/>
              </a:ext>
            </a:extLst>
          </p:cNvPr>
          <p:cNvSpPr>
            <a:spLocks noGrp="1"/>
          </p:cNvSpPr>
          <p:nvPr>
            <p:ph type="pic" sz="quarter" idx="55" hasCustomPrompt="1"/>
          </p:nvPr>
        </p:nvSpPr>
        <p:spPr>
          <a:xfrm>
            <a:off x="8641724" y="4004320"/>
            <a:ext cx="2098954" cy="2028856"/>
          </a:xfrm>
          <a:prstGeom prst="ellipse">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a:defRPr lang="en-AU" sz="1800" dirty="0">
                <a:solidFill>
                  <a:schemeClr val="tx1">
                    <a:alpha val="0"/>
                  </a:schemeClr>
                </a:solidFill>
                <a:latin typeface="+mn-lt"/>
                <a:cs typeface="+mn-cs"/>
              </a:defRPr>
            </a:lvl1pPr>
          </a:lstStyle>
          <a:p>
            <a:pPr lvl="0" algn="ctr"/>
            <a:r>
              <a:rPr lang="en-AU"/>
              <a:t>Image placeholder</a:t>
            </a:r>
          </a:p>
        </p:txBody>
      </p:sp>
      <p:sp>
        <p:nvSpPr>
          <p:cNvPr id="9" name="Content Placeholder 58">
            <a:extLst>
              <a:ext uri="{FF2B5EF4-FFF2-40B4-BE49-F238E27FC236}">
                <a16:creationId xmlns:a16="http://schemas.microsoft.com/office/drawing/2014/main" id="{68416E2B-D32F-4F96-BA7F-7F845269C448}"/>
              </a:ext>
            </a:extLst>
          </p:cNvPr>
          <p:cNvSpPr>
            <a:spLocks noGrp="1"/>
          </p:cNvSpPr>
          <p:nvPr>
            <p:ph sz="quarter" idx="79" hasCustomPrompt="1"/>
          </p:nvPr>
        </p:nvSpPr>
        <p:spPr>
          <a:xfrm>
            <a:off x="9208134" y="4237798"/>
            <a:ext cx="966136" cy="579940"/>
          </a:xfrm>
          <a:prstGeom prst="rect">
            <a:avLst/>
          </a:prstGeom>
        </p:spPr>
        <p:txBody>
          <a:bodyPr anchor="ctr"/>
          <a:lstStyle>
            <a:lvl1pPr algn="ctr">
              <a:defRPr sz="3200" b="1">
                <a:solidFill>
                  <a:schemeClr val="bg1"/>
                </a:solidFill>
                <a:latin typeface="+mn-lt"/>
              </a:defRPr>
            </a:lvl1pPr>
          </a:lstStyle>
          <a:p>
            <a:pPr lvl="0"/>
            <a:r>
              <a:rPr lang="en-AU"/>
              <a:t>55%</a:t>
            </a:r>
          </a:p>
        </p:txBody>
      </p:sp>
      <p:sp>
        <p:nvSpPr>
          <p:cNvPr id="11" name="Text Placeholder 58">
            <a:extLst>
              <a:ext uri="{FF2B5EF4-FFF2-40B4-BE49-F238E27FC236}">
                <a16:creationId xmlns:a16="http://schemas.microsoft.com/office/drawing/2014/main" id="{877C08CD-3FE0-4A80-84FB-D9088A4AC1DB}"/>
              </a:ext>
            </a:extLst>
          </p:cNvPr>
          <p:cNvSpPr>
            <a:spLocks noGrp="1"/>
          </p:cNvSpPr>
          <p:nvPr>
            <p:ph type="body" sz="quarter" idx="81"/>
          </p:nvPr>
        </p:nvSpPr>
        <p:spPr>
          <a:xfrm>
            <a:off x="8775229" y="4955997"/>
            <a:ext cx="1831944" cy="639720"/>
          </a:xfrm>
        </p:spPr>
        <p:txBody>
          <a:bodyPr anchor="t"/>
          <a:lstStyle>
            <a:lvl1pPr marL="0" indent="0" algn="ctr">
              <a:spcAft>
                <a:spcPts val="0"/>
              </a:spcAft>
              <a:defRPr sz="1400" b="1">
                <a:solidFill>
                  <a:schemeClr val="bg1"/>
                </a:solidFill>
                <a:latin typeface="+mn-lt"/>
              </a:defRPr>
            </a:lvl1pPr>
            <a:lvl2pPr marL="0" indent="0" algn="ctr">
              <a:spcAft>
                <a:spcPts val="0"/>
              </a:spcAft>
              <a:buNone/>
              <a:defRPr sz="1200" b="0">
                <a:solidFill>
                  <a:schemeClr val="bg1"/>
                </a:solidFill>
                <a:latin typeface="+mn-lt"/>
              </a:defRPr>
            </a:lvl2pPr>
            <a:lvl3pPr marL="0" indent="0">
              <a:buNone/>
              <a:defRPr/>
            </a:lvl3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5286B89D-2C55-BB7D-053A-05AC730ABFCC}"/>
              </a:ext>
            </a:extLst>
          </p:cNvPr>
          <p:cNvSpPr>
            <a:spLocks noGrp="1"/>
          </p:cNvSpPr>
          <p:nvPr>
            <p:ph type="title"/>
          </p:nvPr>
        </p:nvSpPr>
        <p:spPr>
          <a:xfrm>
            <a:off x="479425" y="604203"/>
            <a:ext cx="7593013" cy="746695"/>
          </a:xfrm>
        </p:spPr>
        <p:txBody>
          <a:bodyPr/>
          <a:lstStyle/>
          <a:p>
            <a:r>
              <a:rPr lang="en-US"/>
              <a:t>Click to edit Master title style</a:t>
            </a:r>
            <a:endParaRPr lang="en-AU"/>
          </a:p>
        </p:txBody>
      </p:sp>
      <p:sp>
        <p:nvSpPr>
          <p:cNvPr id="3" name="Slide Number Placeholder 3">
            <a:extLst>
              <a:ext uri="{FF2B5EF4-FFF2-40B4-BE49-F238E27FC236}">
                <a16:creationId xmlns:a16="http://schemas.microsoft.com/office/drawing/2014/main" id="{7A6FABFB-D00A-3FAC-DBA2-2A7A5D51BD44}"/>
              </a:ext>
            </a:extLst>
          </p:cNvPr>
          <p:cNvSpPr>
            <a:spLocks noGrp="1"/>
          </p:cNvSpPr>
          <p:nvPr>
            <p:ph type="sldNum" sz="quarter" idx="67"/>
          </p:nvPr>
        </p:nvSpPr>
        <p:spPr>
          <a:xfrm>
            <a:off x="479425" y="6339948"/>
            <a:ext cx="173038" cy="169200"/>
          </a:xfrm>
        </p:spPr>
        <p:txBody>
          <a:bodyPr/>
          <a:lstStyle/>
          <a:p>
            <a:fld id="{E4C2AD82-1025-4508-97C1-6F7EE5C92734}" type="slidenum">
              <a:rPr lang="en-AU" smtClean="0"/>
              <a:pPr/>
              <a:t>‹#›</a:t>
            </a:fld>
            <a:endParaRPr lang="en-AU"/>
          </a:p>
        </p:txBody>
      </p:sp>
      <p:sp>
        <p:nvSpPr>
          <p:cNvPr id="7" name="Footer Placeholder 4">
            <a:extLst>
              <a:ext uri="{FF2B5EF4-FFF2-40B4-BE49-F238E27FC236}">
                <a16:creationId xmlns:a16="http://schemas.microsoft.com/office/drawing/2014/main" id="{70D1E36D-5A90-47AA-145B-EF2B4635580D}"/>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300370067"/>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 Column and stat">
    <p:bg>
      <p:bgRef idx="1001">
        <a:schemeClr val="bg1"/>
      </p:bgRef>
    </p:bg>
    <p:spTree>
      <p:nvGrpSpPr>
        <p:cNvPr id="1" name=""/>
        <p:cNvGrpSpPr/>
        <p:nvPr/>
      </p:nvGrpSpPr>
      <p:grpSpPr>
        <a:xfrm>
          <a:off x="0" y="0"/>
          <a:ext cx="0" cy="0"/>
          <a:chOff x="0" y="0"/>
          <a:chExt cx="0" cy="0"/>
        </a:xfrm>
      </p:grpSpPr>
      <p:sp>
        <p:nvSpPr>
          <p:cNvPr id="5" name="Graphic 33">
            <a:extLst>
              <a:ext uri="{FF2B5EF4-FFF2-40B4-BE49-F238E27FC236}">
                <a16:creationId xmlns:a16="http://schemas.microsoft.com/office/drawing/2014/main" id="{DA6A0B85-8100-4AF7-28BA-1967A168CC1E}"/>
              </a:ext>
            </a:extLst>
          </p:cNvPr>
          <p:cNvSpPr/>
          <p:nvPr/>
        </p:nvSpPr>
        <p:spPr>
          <a:xfrm>
            <a:off x="6901347" y="2040651"/>
            <a:ext cx="3240000" cy="3240000"/>
          </a:xfrm>
          <a:prstGeom prst="ellipse">
            <a:avLst/>
          </a:prstGeom>
          <a:solidFill>
            <a:schemeClr val="accent1"/>
          </a:solidFill>
          <a:ln w="21503" cap="flat">
            <a:noFill/>
            <a:prstDash val="solid"/>
            <a:miter/>
          </a:ln>
        </p:spPr>
        <p:txBody>
          <a:bodyPr rtlCol="0" anchor="ctr"/>
          <a:lstStyle/>
          <a:p>
            <a:endParaRPr lang="en-AU"/>
          </a:p>
        </p:txBody>
      </p:sp>
      <p:sp>
        <p:nvSpPr>
          <p:cNvPr id="14" name="Text Placeholder 13">
            <a:extLst>
              <a:ext uri="{FF2B5EF4-FFF2-40B4-BE49-F238E27FC236}">
                <a16:creationId xmlns:a16="http://schemas.microsoft.com/office/drawing/2014/main" id="{C7F407D5-7EDE-854A-86D3-A2BD3DB02494}"/>
              </a:ext>
            </a:extLst>
          </p:cNvPr>
          <p:cNvSpPr>
            <a:spLocks noGrp="1"/>
          </p:cNvSpPr>
          <p:nvPr>
            <p:ph type="body" sz="quarter" idx="82"/>
          </p:nvPr>
        </p:nvSpPr>
        <p:spPr>
          <a:xfrm>
            <a:off x="479425" y="2097087"/>
            <a:ext cx="5108575" cy="3795713"/>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58">
            <a:extLst>
              <a:ext uri="{FF2B5EF4-FFF2-40B4-BE49-F238E27FC236}">
                <a16:creationId xmlns:a16="http://schemas.microsoft.com/office/drawing/2014/main" id="{355945AA-164A-4F0C-8563-99900CB69B7A}"/>
              </a:ext>
            </a:extLst>
          </p:cNvPr>
          <p:cNvSpPr>
            <a:spLocks noGrp="1"/>
          </p:cNvSpPr>
          <p:nvPr>
            <p:ph sz="quarter" idx="78" hasCustomPrompt="1"/>
          </p:nvPr>
        </p:nvSpPr>
        <p:spPr>
          <a:xfrm>
            <a:off x="7501344" y="2897887"/>
            <a:ext cx="2000248" cy="678480"/>
          </a:xfrm>
          <a:prstGeom prst="rect">
            <a:avLst/>
          </a:prstGeom>
        </p:spPr>
        <p:txBody>
          <a:bodyPr anchor="ctr"/>
          <a:lstStyle>
            <a:lvl1pPr algn="ctr">
              <a:defRPr sz="5400" b="0">
                <a:solidFill>
                  <a:schemeClr val="bg1"/>
                </a:solidFill>
                <a:latin typeface="+mj-lt"/>
              </a:defRPr>
            </a:lvl1pPr>
          </a:lstStyle>
          <a:p>
            <a:pPr lvl="0"/>
            <a:r>
              <a:rPr lang="en-AU"/>
              <a:t>99%</a:t>
            </a:r>
          </a:p>
        </p:txBody>
      </p:sp>
      <p:sp>
        <p:nvSpPr>
          <p:cNvPr id="10" name="Text Placeholder 58">
            <a:extLst>
              <a:ext uri="{FF2B5EF4-FFF2-40B4-BE49-F238E27FC236}">
                <a16:creationId xmlns:a16="http://schemas.microsoft.com/office/drawing/2014/main" id="{47743944-8EE0-4915-8C37-6F1A933F6199}"/>
              </a:ext>
            </a:extLst>
          </p:cNvPr>
          <p:cNvSpPr>
            <a:spLocks noGrp="1"/>
          </p:cNvSpPr>
          <p:nvPr>
            <p:ph type="body" sz="quarter" idx="80"/>
          </p:nvPr>
        </p:nvSpPr>
        <p:spPr>
          <a:xfrm>
            <a:off x="7429857" y="3715766"/>
            <a:ext cx="2143222" cy="738952"/>
          </a:xfrm>
        </p:spPr>
        <p:txBody>
          <a:bodyPr anchor="t"/>
          <a:lstStyle>
            <a:lvl1pPr algn="ctr">
              <a:spcAft>
                <a:spcPts val="0"/>
              </a:spcAft>
              <a:defRPr sz="1400" b="1">
                <a:solidFill>
                  <a:schemeClr val="bg1"/>
                </a:solidFill>
                <a:latin typeface="+mn-lt"/>
              </a:defRPr>
            </a:lvl1pPr>
            <a:lvl2pPr marL="0" indent="0" algn="ctr">
              <a:spcAft>
                <a:spcPts val="0"/>
              </a:spcAft>
              <a:buNone/>
              <a:defRPr sz="1200" b="0">
                <a:solidFill>
                  <a:schemeClr val="bg1"/>
                </a:solidFill>
                <a:latin typeface="+mn-lt"/>
              </a:defRPr>
            </a:lvl2pPr>
            <a:lvl3pPr marL="0" indent="0">
              <a:buNone/>
              <a:defRPr/>
            </a:lvl3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42C85CBF-0929-611D-B831-78C6E29C8BFD}"/>
              </a:ext>
            </a:extLst>
          </p:cNvPr>
          <p:cNvSpPr>
            <a:spLocks noGrp="1"/>
          </p:cNvSpPr>
          <p:nvPr>
            <p:ph type="title"/>
          </p:nvPr>
        </p:nvSpPr>
        <p:spPr/>
        <p:txBody>
          <a:bodyPr/>
          <a:lstStyle/>
          <a:p>
            <a:r>
              <a:rPr lang="en-US"/>
              <a:t>Click to edit Master title style</a:t>
            </a:r>
            <a:endParaRPr lang="en-AU"/>
          </a:p>
        </p:txBody>
      </p:sp>
      <p:sp>
        <p:nvSpPr>
          <p:cNvPr id="7" name="Slide Number Placeholder 6">
            <a:extLst>
              <a:ext uri="{FF2B5EF4-FFF2-40B4-BE49-F238E27FC236}">
                <a16:creationId xmlns:a16="http://schemas.microsoft.com/office/drawing/2014/main" id="{79D33F95-4B89-6264-8980-BE4926BE2854}"/>
              </a:ext>
            </a:extLst>
          </p:cNvPr>
          <p:cNvSpPr>
            <a:spLocks noGrp="1"/>
          </p:cNvSpPr>
          <p:nvPr>
            <p:ph type="sldNum" sz="quarter" idx="84"/>
          </p:nvPr>
        </p:nvSpPr>
        <p:spPr/>
        <p:txBody>
          <a:body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6ACD1496-B33C-EE35-E572-43D20C224669}"/>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082096611"/>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1 Column and stat">
    <p:bg>
      <p:bgRef idx="1001">
        <a:schemeClr val="bg1"/>
      </p:bgRef>
    </p:bg>
    <p:spTree>
      <p:nvGrpSpPr>
        <p:cNvPr id="1" name=""/>
        <p:cNvGrpSpPr/>
        <p:nvPr/>
      </p:nvGrpSpPr>
      <p:grpSpPr>
        <a:xfrm>
          <a:off x="0" y="0"/>
          <a:ext cx="0" cy="0"/>
          <a:chOff x="0" y="0"/>
          <a:chExt cx="0" cy="0"/>
        </a:xfrm>
      </p:grpSpPr>
      <p:sp>
        <p:nvSpPr>
          <p:cNvPr id="5" name="Graphic 33">
            <a:extLst>
              <a:ext uri="{FF2B5EF4-FFF2-40B4-BE49-F238E27FC236}">
                <a16:creationId xmlns:a16="http://schemas.microsoft.com/office/drawing/2014/main" id="{DA6A0B85-8100-4AF7-28BA-1967A168CC1E}"/>
              </a:ext>
            </a:extLst>
          </p:cNvPr>
          <p:cNvSpPr/>
          <p:nvPr/>
        </p:nvSpPr>
        <p:spPr>
          <a:xfrm>
            <a:off x="6901347" y="2040651"/>
            <a:ext cx="3240000" cy="3240000"/>
          </a:xfrm>
          <a:prstGeom prst="ellipse">
            <a:avLst/>
          </a:prstGeom>
          <a:solidFill>
            <a:schemeClr val="accent2"/>
          </a:solidFill>
          <a:ln w="21503" cap="flat">
            <a:noFill/>
            <a:prstDash val="solid"/>
            <a:miter/>
          </a:ln>
        </p:spPr>
        <p:txBody>
          <a:bodyPr rtlCol="0" anchor="ctr"/>
          <a:lstStyle/>
          <a:p>
            <a:endParaRPr lang="en-AU"/>
          </a:p>
        </p:txBody>
      </p:sp>
      <p:sp>
        <p:nvSpPr>
          <p:cNvPr id="14" name="Text Placeholder 13">
            <a:extLst>
              <a:ext uri="{FF2B5EF4-FFF2-40B4-BE49-F238E27FC236}">
                <a16:creationId xmlns:a16="http://schemas.microsoft.com/office/drawing/2014/main" id="{C7F407D5-7EDE-854A-86D3-A2BD3DB02494}"/>
              </a:ext>
            </a:extLst>
          </p:cNvPr>
          <p:cNvSpPr>
            <a:spLocks noGrp="1"/>
          </p:cNvSpPr>
          <p:nvPr>
            <p:ph type="body" sz="quarter" idx="82"/>
          </p:nvPr>
        </p:nvSpPr>
        <p:spPr>
          <a:xfrm>
            <a:off x="479425" y="2097087"/>
            <a:ext cx="5108575" cy="3795713"/>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58">
            <a:extLst>
              <a:ext uri="{FF2B5EF4-FFF2-40B4-BE49-F238E27FC236}">
                <a16:creationId xmlns:a16="http://schemas.microsoft.com/office/drawing/2014/main" id="{355945AA-164A-4F0C-8563-99900CB69B7A}"/>
              </a:ext>
            </a:extLst>
          </p:cNvPr>
          <p:cNvSpPr>
            <a:spLocks noGrp="1"/>
          </p:cNvSpPr>
          <p:nvPr>
            <p:ph sz="quarter" idx="78" hasCustomPrompt="1"/>
          </p:nvPr>
        </p:nvSpPr>
        <p:spPr>
          <a:xfrm>
            <a:off x="7501344" y="2897887"/>
            <a:ext cx="2000248" cy="678480"/>
          </a:xfrm>
          <a:prstGeom prst="rect">
            <a:avLst/>
          </a:prstGeom>
        </p:spPr>
        <p:txBody>
          <a:bodyPr anchor="ctr"/>
          <a:lstStyle>
            <a:lvl1pPr algn="ctr">
              <a:defRPr sz="5400" b="0">
                <a:solidFill>
                  <a:schemeClr val="bg1"/>
                </a:solidFill>
                <a:latin typeface="+mj-lt"/>
              </a:defRPr>
            </a:lvl1pPr>
          </a:lstStyle>
          <a:p>
            <a:pPr lvl="0"/>
            <a:r>
              <a:rPr lang="en-AU"/>
              <a:t>99%</a:t>
            </a:r>
          </a:p>
        </p:txBody>
      </p:sp>
      <p:sp>
        <p:nvSpPr>
          <p:cNvPr id="10" name="Text Placeholder 58">
            <a:extLst>
              <a:ext uri="{FF2B5EF4-FFF2-40B4-BE49-F238E27FC236}">
                <a16:creationId xmlns:a16="http://schemas.microsoft.com/office/drawing/2014/main" id="{47743944-8EE0-4915-8C37-6F1A933F6199}"/>
              </a:ext>
            </a:extLst>
          </p:cNvPr>
          <p:cNvSpPr>
            <a:spLocks noGrp="1"/>
          </p:cNvSpPr>
          <p:nvPr>
            <p:ph type="body" sz="quarter" idx="80"/>
          </p:nvPr>
        </p:nvSpPr>
        <p:spPr>
          <a:xfrm>
            <a:off x="7429857" y="3715766"/>
            <a:ext cx="2143222" cy="738952"/>
          </a:xfrm>
        </p:spPr>
        <p:txBody>
          <a:bodyPr anchor="t"/>
          <a:lstStyle>
            <a:lvl1pPr algn="ctr">
              <a:spcAft>
                <a:spcPts val="0"/>
              </a:spcAft>
              <a:defRPr sz="1400" b="1">
                <a:solidFill>
                  <a:schemeClr val="bg1"/>
                </a:solidFill>
                <a:latin typeface="+mn-lt"/>
              </a:defRPr>
            </a:lvl1pPr>
            <a:lvl2pPr marL="0" indent="0" algn="ctr">
              <a:spcAft>
                <a:spcPts val="0"/>
              </a:spcAft>
              <a:buNone/>
              <a:defRPr sz="1200" b="0">
                <a:solidFill>
                  <a:schemeClr val="bg1"/>
                </a:solidFill>
                <a:latin typeface="+mn-lt"/>
              </a:defRPr>
            </a:lvl2pPr>
            <a:lvl3pPr marL="0" indent="0">
              <a:buNone/>
              <a:defRPr/>
            </a:lvl3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42C85CBF-0929-611D-B831-78C6E29C8BFD}"/>
              </a:ext>
            </a:extLst>
          </p:cNvPr>
          <p:cNvSpPr>
            <a:spLocks noGrp="1"/>
          </p:cNvSpPr>
          <p:nvPr>
            <p:ph type="title"/>
          </p:nvPr>
        </p:nvSpPr>
        <p:spPr/>
        <p:txBody>
          <a:bodyPr/>
          <a:lstStyle/>
          <a:p>
            <a:r>
              <a:rPr lang="en-US"/>
              <a:t>Click to edit Master title style</a:t>
            </a:r>
            <a:endParaRPr lang="en-AU"/>
          </a:p>
        </p:txBody>
      </p:sp>
      <p:sp>
        <p:nvSpPr>
          <p:cNvPr id="7" name="Slide Number Placeholder 6">
            <a:extLst>
              <a:ext uri="{FF2B5EF4-FFF2-40B4-BE49-F238E27FC236}">
                <a16:creationId xmlns:a16="http://schemas.microsoft.com/office/drawing/2014/main" id="{79D33F95-4B89-6264-8980-BE4926BE2854}"/>
              </a:ext>
            </a:extLst>
          </p:cNvPr>
          <p:cNvSpPr>
            <a:spLocks noGrp="1"/>
          </p:cNvSpPr>
          <p:nvPr>
            <p:ph type="sldNum" sz="quarter" idx="84"/>
          </p:nvPr>
        </p:nvSpPr>
        <p:spPr/>
        <p:txBody>
          <a:bodyPr/>
          <a:lstStyle/>
          <a:p>
            <a:fld id="{E4C2AD82-1025-4508-97C1-6F7EE5C92734}" type="slidenum">
              <a:rPr lang="en-AU" smtClean="0"/>
              <a:pPr/>
              <a:t>‹#›</a:t>
            </a:fld>
            <a:endParaRPr lang="en-AU"/>
          </a:p>
        </p:txBody>
      </p:sp>
      <p:sp>
        <p:nvSpPr>
          <p:cNvPr id="2" name="Footer Placeholder 4">
            <a:extLst>
              <a:ext uri="{FF2B5EF4-FFF2-40B4-BE49-F238E27FC236}">
                <a16:creationId xmlns:a16="http://schemas.microsoft.com/office/drawing/2014/main" id="{488D67C3-AD77-A701-7112-B840467F2CD9}"/>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875529402"/>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 Column and stat_image">
    <p:bg>
      <p:bgRef idx="1001">
        <a:schemeClr val="bg1"/>
      </p:bgRef>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DAD281C5-EE89-6D6E-1BD2-577CE4708A37}"/>
              </a:ext>
            </a:extLst>
          </p:cNvPr>
          <p:cNvSpPr>
            <a:spLocks noGrp="1"/>
          </p:cNvSpPr>
          <p:nvPr>
            <p:ph type="pic" sz="quarter" idx="86" hasCustomPrompt="1"/>
          </p:nvPr>
        </p:nvSpPr>
        <p:spPr>
          <a:xfrm>
            <a:off x="0" y="141290"/>
            <a:ext cx="12192000" cy="6716710"/>
          </a:xfrm>
          <a:prstGeom prst="rect">
            <a:avLst/>
          </a:prstGeom>
          <a:gradFill flip="none" rotWithShape="1">
            <a:gsLst>
              <a:gs pos="0">
                <a:srgbClr val="5C4ADE"/>
              </a:gs>
              <a:gs pos="99000">
                <a:srgbClr val="B5A3FF">
                  <a:alpha val="0"/>
                </a:srgbClr>
              </a:gs>
            </a:gsLst>
            <a:lin ang="0" scaled="1"/>
            <a:tileRect/>
          </a:gradFill>
        </p:spPr>
        <p:txBody>
          <a:bodyPr wrap="square">
            <a:noAutofit/>
          </a:bodyPr>
          <a:lstStyle>
            <a:lvl1pPr algn="ctr">
              <a:defRPr/>
            </a:lvl1pPr>
          </a:lstStyle>
          <a:p>
            <a:r>
              <a:rPr lang="en-AU"/>
              <a:t> </a:t>
            </a:r>
          </a:p>
        </p:txBody>
      </p:sp>
      <p:sp>
        <p:nvSpPr>
          <p:cNvPr id="4" name="Picture Placeholder 3">
            <a:extLst>
              <a:ext uri="{FF2B5EF4-FFF2-40B4-BE49-F238E27FC236}">
                <a16:creationId xmlns:a16="http://schemas.microsoft.com/office/drawing/2014/main" id="{0E02A36A-60E5-5AA0-AE16-B12EC54B7B29}"/>
              </a:ext>
            </a:extLst>
          </p:cNvPr>
          <p:cNvSpPr>
            <a:spLocks noGrp="1"/>
          </p:cNvSpPr>
          <p:nvPr>
            <p:ph type="pic" sz="quarter" idx="25" hasCustomPrompt="1"/>
          </p:nvPr>
        </p:nvSpPr>
        <p:spPr>
          <a:xfrm>
            <a:off x="0" y="141290"/>
            <a:ext cx="12192000" cy="6716710"/>
          </a:xfrm>
          <a:prstGeom prst="rect">
            <a:avLst/>
          </a:prstGeom>
          <a:solidFill>
            <a:schemeClr val="bg1">
              <a:lumMod val="95000"/>
            </a:schemeClr>
          </a:solidFill>
        </p:spPr>
        <p:txBody>
          <a:bodyPr wrap="square">
            <a:noAutofit/>
          </a:bodyPr>
          <a:lstStyle>
            <a:lvl1pPr algn="ctr">
              <a:defRPr/>
            </a:lvl1pPr>
          </a:lstStyle>
          <a:p>
            <a:r>
              <a:rPr lang="en-AU"/>
              <a:t>Click on icon to insert image and send to back</a:t>
            </a:r>
          </a:p>
        </p:txBody>
      </p:sp>
      <p:sp>
        <p:nvSpPr>
          <p:cNvPr id="20" name="Text Placeholder 19">
            <a:extLst>
              <a:ext uri="{FF2B5EF4-FFF2-40B4-BE49-F238E27FC236}">
                <a16:creationId xmlns:a16="http://schemas.microsoft.com/office/drawing/2014/main" id="{8ADCBA78-F1AE-065D-6A80-4D9819FDEADB}"/>
              </a:ext>
            </a:extLst>
          </p:cNvPr>
          <p:cNvSpPr>
            <a:spLocks noGrp="1"/>
          </p:cNvSpPr>
          <p:nvPr>
            <p:ph type="body" sz="quarter" idx="88" hasCustomPrompt="1"/>
          </p:nvPr>
        </p:nvSpPr>
        <p:spPr>
          <a:xfrm>
            <a:off x="6922328" y="2345452"/>
            <a:ext cx="3240000" cy="3240000"/>
          </a:xfrm>
          <a:custGeom>
            <a:avLst/>
            <a:gdLst>
              <a:gd name="connsiteX0" fmla="*/ 1620000 w 3240000"/>
              <a:gd name="connsiteY0" fmla="*/ 0 h 3240000"/>
              <a:gd name="connsiteX1" fmla="*/ 3240000 w 3240000"/>
              <a:gd name="connsiteY1" fmla="*/ 1620000 h 3240000"/>
              <a:gd name="connsiteX2" fmla="*/ 1620000 w 3240000"/>
              <a:gd name="connsiteY2" fmla="*/ 3240000 h 3240000"/>
              <a:gd name="connsiteX3" fmla="*/ 0 w 3240000"/>
              <a:gd name="connsiteY3" fmla="*/ 1620000 h 3240000"/>
              <a:gd name="connsiteX4" fmla="*/ 1620000 w 3240000"/>
              <a:gd name="connsiteY4" fmla="*/ 0 h 32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0000" h="3240000">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accent3"/>
          </a:solidFill>
          <a:ln w="21503" cap="flat">
            <a:noFill/>
            <a:prstDash val="solid"/>
            <a:miter/>
          </a:ln>
        </p:spPr>
        <p:txBody>
          <a:bodyPr wrap="square" rtlCol="0" anchor="ctr">
            <a:noAutofit/>
          </a:bodyPr>
          <a:lstStyle>
            <a:lvl1pPr>
              <a:defRPr lang="en-AU" sz="1800" dirty="0">
                <a:latin typeface="+mn-lt"/>
              </a:defRPr>
            </a:lvl1pPr>
          </a:lstStyle>
          <a:p>
            <a:pPr lvl="0"/>
            <a:r>
              <a:rPr lang="en-US"/>
              <a:t> </a:t>
            </a:r>
            <a:endParaRPr lang="en-AU"/>
          </a:p>
        </p:txBody>
      </p:sp>
      <p:sp>
        <p:nvSpPr>
          <p:cNvPr id="14" name="Text Placeholder 13">
            <a:extLst>
              <a:ext uri="{FF2B5EF4-FFF2-40B4-BE49-F238E27FC236}">
                <a16:creationId xmlns:a16="http://schemas.microsoft.com/office/drawing/2014/main" id="{C7F407D5-7EDE-854A-86D3-A2BD3DB02494}"/>
              </a:ext>
            </a:extLst>
          </p:cNvPr>
          <p:cNvSpPr>
            <a:spLocks noGrp="1"/>
          </p:cNvSpPr>
          <p:nvPr>
            <p:ph type="body" sz="quarter" idx="82"/>
          </p:nvPr>
        </p:nvSpPr>
        <p:spPr>
          <a:xfrm>
            <a:off x="479425" y="2097087"/>
            <a:ext cx="5108575" cy="3795713"/>
          </a:xfrm>
        </p:spPr>
        <p:txBody>
          <a:bodyPr/>
          <a:lstStyle>
            <a:lvl1pPr>
              <a:defRPr sz="1200">
                <a:solidFill>
                  <a:schemeClr val="bg1"/>
                </a:solidFill>
              </a:defRPr>
            </a:lvl1pPr>
            <a:lvl2pPr marL="180000" indent="-180000">
              <a:buClr>
                <a:schemeClr val="bg1"/>
              </a:buClr>
              <a:buFont typeface="Arial" panose="020B0604020202020204" pitchFamily="34" charset="0"/>
              <a:buChar char="•"/>
              <a:defRPr sz="1200">
                <a:solidFill>
                  <a:schemeClr val="bg1"/>
                </a:solidFill>
              </a:defRPr>
            </a:lvl2pPr>
            <a:lvl3pPr marL="360363" indent="-180000">
              <a:buClr>
                <a:schemeClr val="bg1"/>
              </a:buClr>
              <a:buFont typeface="Arial" panose="020B0604020202020204" pitchFamily="34" charset="0"/>
              <a:buChar char="•"/>
              <a:defRPr sz="1200">
                <a:solidFill>
                  <a:schemeClr val="bg1"/>
                </a:solidFill>
              </a:defRPr>
            </a:lvl3pPr>
            <a:lvl4pPr>
              <a:buClr>
                <a:schemeClr val="bg1"/>
              </a:buCl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Title 18">
            <a:extLst>
              <a:ext uri="{FF2B5EF4-FFF2-40B4-BE49-F238E27FC236}">
                <a16:creationId xmlns:a16="http://schemas.microsoft.com/office/drawing/2014/main" id="{2F2B8837-5898-7665-942D-26B35922029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2" name="Slide Number Placeholder 1">
            <a:extLst>
              <a:ext uri="{FF2B5EF4-FFF2-40B4-BE49-F238E27FC236}">
                <a16:creationId xmlns:a16="http://schemas.microsoft.com/office/drawing/2014/main" id="{CCAAE4FB-21EA-CBB5-DD44-ECD379AC2C10}"/>
              </a:ext>
            </a:extLst>
          </p:cNvPr>
          <p:cNvSpPr>
            <a:spLocks noGrp="1"/>
          </p:cNvSpPr>
          <p:nvPr>
            <p:ph type="sldNum" sz="quarter" idx="85"/>
          </p:nvPr>
        </p:nvSpPr>
        <p:spPr/>
        <p:txBody>
          <a:bodyPr/>
          <a:lstStyle>
            <a:lvl1pPr>
              <a:defRPr>
                <a:solidFill>
                  <a:schemeClr val="bg2"/>
                </a:solidFill>
              </a:defRPr>
            </a:lvl1pPr>
          </a:lstStyle>
          <a:p>
            <a:fld id="{E4C2AD82-1025-4508-97C1-6F7EE5C92734}" type="slidenum">
              <a:rPr lang="en-AU" smtClean="0"/>
              <a:pPr/>
              <a:t>‹#›</a:t>
            </a:fld>
            <a:endParaRPr lang="en-AU"/>
          </a:p>
        </p:txBody>
      </p:sp>
      <p:sp>
        <p:nvSpPr>
          <p:cNvPr id="9" name="Content Placeholder 58">
            <a:extLst>
              <a:ext uri="{FF2B5EF4-FFF2-40B4-BE49-F238E27FC236}">
                <a16:creationId xmlns:a16="http://schemas.microsoft.com/office/drawing/2014/main" id="{9BDB0583-ED98-8FDF-0FE1-D022AF9B1BE5}"/>
              </a:ext>
            </a:extLst>
          </p:cNvPr>
          <p:cNvSpPr>
            <a:spLocks noGrp="1"/>
          </p:cNvSpPr>
          <p:nvPr>
            <p:ph sz="quarter" idx="78" hasCustomPrompt="1"/>
          </p:nvPr>
        </p:nvSpPr>
        <p:spPr>
          <a:xfrm>
            <a:off x="7491405" y="3106609"/>
            <a:ext cx="2000248" cy="678480"/>
          </a:xfrm>
          <a:prstGeom prst="rect">
            <a:avLst/>
          </a:prstGeom>
        </p:spPr>
        <p:txBody>
          <a:bodyPr anchor="ctr"/>
          <a:lstStyle>
            <a:lvl1pPr algn="ctr">
              <a:defRPr sz="5400" b="0">
                <a:solidFill>
                  <a:schemeClr val="tx1"/>
                </a:solidFill>
                <a:latin typeface="+mj-lt"/>
              </a:defRPr>
            </a:lvl1pPr>
          </a:lstStyle>
          <a:p>
            <a:pPr lvl="0"/>
            <a:r>
              <a:rPr lang="en-AU"/>
              <a:t>99%</a:t>
            </a:r>
          </a:p>
        </p:txBody>
      </p:sp>
      <p:sp>
        <p:nvSpPr>
          <p:cNvPr id="10" name="Text Placeholder 58">
            <a:extLst>
              <a:ext uri="{FF2B5EF4-FFF2-40B4-BE49-F238E27FC236}">
                <a16:creationId xmlns:a16="http://schemas.microsoft.com/office/drawing/2014/main" id="{EBC83C06-F63E-FA64-94DA-351CFA1BC2CB}"/>
              </a:ext>
            </a:extLst>
          </p:cNvPr>
          <p:cNvSpPr>
            <a:spLocks noGrp="1"/>
          </p:cNvSpPr>
          <p:nvPr>
            <p:ph type="body" sz="quarter" idx="80"/>
          </p:nvPr>
        </p:nvSpPr>
        <p:spPr>
          <a:xfrm>
            <a:off x="7419918" y="3924488"/>
            <a:ext cx="2143222" cy="738952"/>
          </a:xfrm>
        </p:spPr>
        <p:txBody>
          <a:bodyPr anchor="t"/>
          <a:lstStyle>
            <a:lvl1pPr algn="ctr">
              <a:spcAft>
                <a:spcPts val="0"/>
              </a:spcAft>
              <a:defRPr sz="1400" b="1">
                <a:solidFill>
                  <a:schemeClr val="tx1"/>
                </a:solidFill>
                <a:latin typeface="+mn-lt"/>
              </a:defRPr>
            </a:lvl1pPr>
            <a:lvl2pPr marL="0" indent="0" algn="ctr">
              <a:spcAft>
                <a:spcPts val="0"/>
              </a:spcAft>
              <a:buNone/>
              <a:defRPr sz="1200" b="0">
                <a:solidFill>
                  <a:schemeClr val="tx1"/>
                </a:solidFill>
                <a:latin typeface="+mn-lt"/>
              </a:defRPr>
            </a:lvl2pPr>
            <a:lvl3pPr marL="0"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15DAE1BC-1A46-3D8E-3B7E-305B56EAD42A}"/>
              </a:ext>
            </a:extLst>
          </p:cNvPr>
          <p:cNvSpPr>
            <a:spLocks noGrp="1" noChangeAspect="1"/>
          </p:cNvSpPr>
          <p:nvPr>
            <p:ph type="body" sz="quarter" idx="36"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5" name="Footer Placeholder 4">
            <a:extLst>
              <a:ext uri="{FF2B5EF4-FFF2-40B4-BE49-F238E27FC236}">
                <a16:creationId xmlns:a16="http://schemas.microsoft.com/office/drawing/2014/main" id="{2E7824B9-0B38-61E0-31F7-E4B80FC1634C}"/>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240221687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1_Hell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68658FE-26F1-9787-DAB8-8913CBAE8B3C}"/>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39" name="Text Placeholder 38">
            <a:extLst>
              <a:ext uri="{FF2B5EF4-FFF2-40B4-BE49-F238E27FC236}">
                <a16:creationId xmlns:a16="http://schemas.microsoft.com/office/drawing/2014/main" id="{56389369-8C5C-4567-A3BE-CD8E2B052ABB}"/>
              </a:ext>
            </a:extLst>
          </p:cNvPr>
          <p:cNvSpPr>
            <a:spLocks noGrp="1"/>
          </p:cNvSpPr>
          <p:nvPr>
            <p:ph type="body" sz="quarter" idx="37" hasCustomPrompt="1"/>
          </p:nvPr>
        </p:nvSpPr>
        <p:spPr>
          <a:xfrm>
            <a:off x="950590" y="1545587"/>
            <a:ext cx="10188000" cy="3636000"/>
          </a:xfrm>
          <a:custGeom>
            <a:avLst/>
            <a:gdLst>
              <a:gd name="connsiteX0" fmla="*/ 3019215 w 10188000"/>
              <a:gd name="connsiteY0" fmla="*/ 2258992 h 3636000"/>
              <a:gd name="connsiteX1" fmla="*/ 3019227 w 10188000"/>
              <a:gd name="connsiteY1" fmla="*/ 2259147 h 3636000"/>
              <a:gd name="connsiteX2" fmla="*/ 3019215 w 10188000"/>
              <a:gd name="connsiteY2" fmla="*/ 2259298 h 3636000"/>
              <a:gd name="connsiteX3" fmla="*/ 4312861 w 10188000"/>
              <a:gd name="connsiteY3" fmla="*/ 1499464 h 3636000"/>
              <a:gd name="connsiteX4" fmla="*/ 3802163 w 10188000"/>
              <a:gd name="connsiteY4" fmla="*/ 1992652 h 3636000"/>
              <a:gd name="connsiteX5" fmla="*/ 4784622 w 10188000"/>
              <a:gd name="connsiteY5" fmla="*/ 1992652 h 3636000"/>
              <a:gd name="connsiteX6" fmla="*/ 4312861 w 10188000"/>
              <a:gd name="connsiteY6" fmla="*/ 1499464 h 3636000"/>
              <a:gd name="connsiteX7" fmla="*/ 4298372 w 10188000"/>
              <a:gd name="connsiteY7" fmla="*/ 927291 h 3636000"/>
              <a:gd name="connsiteX8" fmla="*/ 5149536 w 10188000"/>
              <a:gd name="connsiteY8" fmla="*/ 1242919 h 3636000"/>
              <a:gd name="connsiteX9" fmla="*/ 5587190 w 10188000"/>
              <a:gd name="connsiteY9" fmla="*/ 2471146 h 3636000"/>
              <a:gd name="connsiteX10" fmla="*/ 3797333 w 10188000"/>
              <a:gd name="connsiteY10" fmla="*/ 2471146 h 3636000"/>
              <a:gd name="connsiteX11" fmla="*/ 4356626 w 10188000"/>
              <a:gd name="connsiteY11" fmla="*/ 3023724 h 3636000"/>
              <a:gd name="connsiteX12" fmla="*/ 4770134 w 10188000"/>
              <a:gd name="connsiteY12" fmla="*/ 2772079 h 3636000"/>
              <a:gd name="connsiteX13" fmla="*/ 5543425 w 10188000"/>
              <a:gd name="connsiteY13" fmla="*/ 2772079 h 3636000"/>
              <a:gd name="connsiteX14" fmla="*/ 5125087 w 10188000"/>
              <a:gd name="connsiteY14" fmla="*/ 3369048 h 3636000"/>
              <a:gd name="connsiteX15" fmla="*/ 4346967 w 10188000"/>
              <a:gd name="connsiteY15" fmla="*/ 3600794 h 3636000"/>
              <a:gd name="connsiteX16" fmla="*/ 3042556 w 10188000"/>
              <a:gd name="connsiteY16" fmla="*/ 2536209 h 3636000"/>
              <a:gd name="connsiteX17" fmla="*/ 3019227 w 10188000"/>
              <a:gd name="connsiteY17" fmla="*/ 2259147 h 3636000"/>
              <a:gd name="connsiteX18" fmla="*/ 3043055 w 10188000"/>
              <a:gd name="connsiteY18" fmla="*/ 1985401 h 3636000"/>
              <a:gd name="connsiteX19" fmla="*/ 4298372 w 10188000"/>
              <a:gd name="connsiteY19" fmla="*/ 927291 h 3636000"/>
              <a:gd name="connsiteX20" fmla="*/ 8844551 w 10188000"/>
              <a:gd name="connsiteY20" fmla="*/ 910760 h 3636000"/>
              <a:gd name="connsiteX21" fmla="*/ 10188000 w 10188000"/>
              <a:gd name="connsiteY21" fmla="*/ 2273381 h 3636000"/>
              <a:gd name="connsiteX22" fmla="*/ 8844551 w 10188000"/>
              <a:gd name="connsiteY22" fmla="*/ 3636000 h 3636000"/>
              <a:gd name="connsiteX23" fmla="*/ 7501101 w 10188000"/>
              <a:gd name="connsiteY23" fmla="*/ 2273381 h 3636000"/>
              <a:gd name="connsiteX24" fmla="*/ 8844551 w 10188000"/>
              <a:gd name="connsiteY24" fmla="*/ 910760 h 3636000"/>
              <a:gd name="connsiteX25" fmla="*/ 6602851 w 10188000"/>
              <a:gd name="connsiteY25" fmla="*/ 0 h 3636000"/>
              <a:gd name="connsiteX26" fmla="*/ 7405420 w 10188000"/>
              <a:gd name="connsiteY26" fmla="*/ 0 h 3636000"/>
              <a:gd name="connsiteX27" fmla="*/ 7405420 w 10188000"/>
              <a:gd name="connsiteY27" fmla="*/ 3527015 h 3636000"/>
              <a:gd name="connsiteX28" fmla="*/ 6602851 w 10188000"/>
              <a:gd name="connsiteY28" fmla="*/ 3527015 h 3636000"/>
              <a:gd name="connsiteX29" fmla="*/ 5680759 w 10188000"/>
              <a:gd name="connsiteY29" fmla="*/ 0 h 3636000"/>
              <a:gd name="connsiteX30" fmla="*/ 6483327 w 10188000"/>
              <a:gd name="connsiteY30" fmla="*/ 0 h 3636000"/>
              <a:gd name="connsiteX31" fmla="*/ 6483327 w 10188000"/>
              <a:gd name="connsiteY31" fmla="*/ 3527015 h 3636000"/>
              <a:gd name="connsiteX32" fmla="*/ 5680759 w 10188000"/>
              <a:gd name="connsiteY32" fmla="*/ 3527015 h 3636000"/>
              <a:gd name="connsiteX33" fmla="*/ 0 w 10188000"/>
              <a:gd name="connsiteY33" fmla="*/ 0 h 3636000"/>
              <a:gd name="connsiteX34" fmla="*/ 860823 w 10188000"/>
              <a:gd name="connsiteY34" fmla="*/ 0 h 3636000"/>
              <a:gd name="connsiteX35" fmla="*/ 860823 w 10188000"/>
              <a:gd name="connsiteY35" fmla="*/ 1336904 h 3636000"/>
              <a:gd name="connsiteX36" fmla="*/ 2081426 w 10188000"/>
              <a:gd name="connsiteY36" fmla="*/ 1336904 h 3636000"/>
              <a:gd name="connsiteX37" fmla="*/ 2081426 w 10188000"/>
              <a:gd name="connsiteY37" fmla="*/ 0 h 3636000"/>
              <a:gd name="connsiteX38" fmla="*/ 2942549 w 10188000"/>
              <a:gd name="connsiteY38" fmla="*/ 0 h 3636000"/>
              <a:gd name="connsiteX39" fmla="*/ 2942549 w 10188000"/>
              <a:gd name="connsiteY39" fmla="*/ 3527015 h 3636000"/>
              <a:gd name="connsiteX40" fmla="*/ 2081426 w 10188000"/>
              <a:gd name="connsiteY40" fmla="*/ 3527015 h 3636000"/>
              <a:gd name="connsiteX41" fmla="*/ 2081426 w 10188000"/>
              <a:gd name="connsiteY41" fmla="*/ 2056941 h 3636000"/>
              <a:gd name="connsiteX42" fmla="*/ 860823 w 10188000"/>
              <a:gd name="connsiteY42" fmla="*/ 2056941 h 3636000"/>
              <a:gd name="connsiteX43" fmla="*/ 860823 w 10188000"/>
              <a:gd name="connsiteY43" fmla="*/ 3527015 h 3636000"/>
              <a:gd name="connsiteX44" fmla="*/ 0 w 10188000"/>
              <a:gd name="connsiteY44" fmla="*/ 3527015 h 36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188000" h="3636000">
                <a:moveTo>
                  <a:pt x="3019215" y="2258992"/>
                </a:moveTo>
                <a:lnTo>
                  <a:pt x="3019227" y="2259147"/>
                </a:lnTo>
                <a:lnTo>
                  <a:pt x="3019215" y="2259298"/>
                </a:lnTo>
                <a:close/>
                <a:moveTo>
                  <a:pt x="4312861" y="1499464"/>
                </a:moveTo>
                <a:cubicBezTo>
                  <a:pt x="4011331" y="1499464"/>
                  <a:pt x="3855586" y="1691718"/>
                  <a:pt x="3802163" y="1992652"/>
                </a:cubicBezTo>
                <a:lnTo>
                  <a:pt x="4784622" y="1992652"/>
                </a:lnTo>
                <a:cubicBezTo>
                  <a:pt x="4755345" y="1691718"/>
                  <a:pt x="4570623" y="1499464"/>
                  <a:pt x="4312861" y="1499464"/>
                </a:cubicBezTo>
                <a:close/>
                <a:moveTo>
                  <a:pt x="4298372" y="927291"/>
                </a:moveTo>
                <a:cubicBezTo>
                  <a:pt x="4653326" y="927291"/>
                  <a:pt x="4935538" y="1045766"/>
                  <a:pt x="5149536" y="1242919"/>
                </a:cubicBezTo>
                <a:cubicBezTo>
                  <a:pt x="5446236" y="1519056"/>
                  <a:pt x="5592020" y="1958057"/>
                  <a:pt x="5587190" y="2471146"/>
                </a:cubicBezTo>
                <a:lnTo>
                  <a:pt x="3797333" y="2471146"/>
                </a:lnTo>
                <a:cubicBezTo>
                  <a:pt x="3845928" y="2811571"/>
                  <a:pt x="4030648" y="3023724"/>
                  <a:pt x="4356626" y="3023724"/>
                </a:cubicBezTo>
                <a:cubicBezTo>
                  <a:pt x="4565795" y="3023724"/>
                  <a:pt x="4701920" y="2930046"/>
                  <a:pt x="4770134" y="2772079"/>
                </a:cubicBezTo>
                <a:lnTo>
                  <a:pt x="5543425" y="2772079"/>
                </a:lnTo>
                <a:cubicBezTo>
                  <a:pt x="5490001" y="2998927"/>
                  <a:pt x="5343915" y="3215979"/>
                  <a:pt x="5125087" y="3369048"/>
                </a:cubicBezTo>
                <a:cubicBezTo>
                  <a:pt x="4915918" y="3516912"/>
                  <a:pt x="4662984" y="3600794"/>
                  <a:pt x="4346967" y="3600794"/>
                </a:cubicBezTo>
                <a:cubicBezTo>
                  <a:pt x="3627818" y="3600794"/>
                  <a:pt x="3150619" y="3158975"/>
                  <a:pt x="3042556" y="2536209"/>
                </a:cubicBezTo>
                <a:lnTo>
                  <a:pt x="3019227" y="2259147"/>
                </a:lnTo>
                <a:lnTo>
                  <a:pt x="3043055" y="1985401"/>
                </a:lnTo>
                <a:cubicBezTo>
                  <a:pt x="3153029" y="1369346"/>
                  <a:pt x="3634420" y="927291"/>
                  <a:pt x="4298372" y="927291"/>
                </a:cubicBezTo>
                <a:close/>
                <a:moveTo>
                  <a:pt x="8844551" y="910760"/>
                </a:moveTo>
                <a:cubicBezTo>
                  <a:pt x="9586450" y="910760"/>
                  <a:pt x="10188000" y="1520893"/>
                  <a:pt x="10188000" y="2273381"/>
                </a:cubicBezTo>
                <a:cubicBezTo>
                  <a:pt x="10188000" y="3025867"/>
                  <a:pt x="9586450" y="3636000"/>
                  <a:pt x="8844551" y="3636000"/>
                </a:cubicBezTo>
                <a:cubicBezTo>
                  <a:pt x="8102651" y="3636000"/>
                  <a:pt x="7501101" y="3025867"/>
                  <a:pt x="7501101" y="2273381"/>
                </a:cubicBezTo>
                <a:cubicBezTo>
                  <a:pt x="7501101" y="1520893"/>
                  <a:pt x="8102651" y="910760"/>
                  <a:pt x="8844551" y="910760"/>
                </a:cubicBezTo>
                <a:close/>
                <a:moveTo>
                  <a:pt x="6602851" y="0"/>
                </a:moveTo>
                <a:lnTo>
                  <a:pt x="7405420" y="0"/>
                </a:lnTo>
                <a:lnTo>
                  <a:pt x="7405420" y="3527015"/>
                </a:lnTo>
                <a:lnTo>
                  <a:pt x="6602851" y="3527015"/>
                </a:lnTo>
                <a:close/>
                <a:moveTo>
                  <a:pt x="5680759" y="0"/>
                </a:moveTo>
                <a:lnTo>
                  <a:pt x="6483327" y="0"/>
                </a:lnTo>
                <a:lnTo>
                  <a:pt x="6483327" y="3527015"/>
                </a:lnTo>
                <a:lnTo>
                  <a:pt x="5680759" y="3527015"/>
                </a:lnTo>
                <a:close/>
                <a:moveTo>
                  <a:pt x="0" y="0"/>
                </a:moveTo>
                <a:lnTo>
                  <a:pt x="860823" y="0"/>
                </a:lnTo>
                <a:lnTo>
                  <a:pt x="860823" y="1336904"/>
                </a:lnTo>
                <a:lnTo>
                  <a:pt x="2081426" y="1336904"/>
                </a:lnTo>
                <a:lnTo>
                  <a:pt x="2081426" y="0"/>
                </a:lnTo>
                <a:lnTo>
                  <a:pt x="2942549" y="0"/>
                </a:lnTo>
                <a:lnTo>
                  <a:pt x="2942549" y="3527015"/>
                </a:lnTo>
                <a:lnTo>
                  <a:pt x="2081426" y="3527015"/>
                </a:lnTo>
                <a:lnTo>
                  <a:pt x="2081426" y="2056941"/>
                </a:lnTo>
                <a:lnTo>
                  <a:pt x="860823" y="2056941"/>
                </a:lnTo>
                <a:lnTo>
                  <a:pt x="860823" y="3527015"/>
                </a:lnTo>
                <a:lnTo>
                  <a:pt x="0" y="3527015"/>
                </a:lnTo>
                <a:close/>
              </a:path>
            </a:pathLst>
          </a:custGeom>
          <a:solidFill>
            <a:schemeClr val="tx1"/>
          </a:solidFill>
        </p:spPr>
        <p:txBody>
          <a:bodyPr wrap="square">
            <a:noAutofit/>
          </a:bodyPr>
          <a:lstStyle>
            <a:lvl1pPr>
              <a:defRPr/>
            </a:lvl1pPr>
          </a:lstStyle>
          <a:p>
            <a:pPr lvl="0"/>
            <a:r>
              <a:rPr lang="en-US"/>
              <a:t> </a:t>
            </a:r>
            <a:endParaRPr lang="en-AU"/>
          </a:p>
        </p:txBody>
      </p:sp>
      <p:sp>
        <p:nvSpPr>
          <p:cNvPr id="41" name="Content Placeholder 40">
            <a:extLst>
              <a:ext uri="{FF2B5EF4-FFF2-40B4-BE49-F238E27FC236}">
                <a16:creationId xmlns:a16="http://schemas.microsoft.com/office/drawing/2014/main" id="{E4A7304B-3E1C-436F-4780-88E0FB0E736B}"/>
              </a:ext>
            </a:extLst>
          </p:cNvPr>
          <p:cNvSpPr>
            <a:spLocks noGrp="1"/>
          </p:cNvSpPr>
          <p:nvPr>
            <p:ph sz="quarter" idx="38" hasCustomPrompt="1"/>
          </p:nvPr>
        </p:nvSpPr>
        <p:spPr>
          <a:xfrm flipH="1">
            <a:off x="8727440" y="3373120"/>
            <a:ext cx="2159000" cy="898525"/>
          </a:xfrm>
        </p:spPr>
        <p:txBody>
          <a:bodyPr/>
          <a:lstStyle>
            <a:lvl1pPr algn="ctr">
              <a:defRPr>
                <a:solidFill>
                  <a:schemeClr val="bg1"/>
                </a:solidFill>
              </a:defRPr>
            </a:lvl1pPr>
          </a:lstStyle>
          <a:p>
            <a:pPr lvl="0"/>
            <a:r>
              <a:rPr lang="en-US"/>
              <a:t>White logo here</a:t>
            </a:r>
            <a:endParaRPr lang="en-AU"/>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916305" y="5497576"/>
            <a:ext cx="10796270" cy="395224"/>
          </a:xfrm>
        </p:spPr>
        <p:txBody>
          <a:bodyPr anchor="t" anchorCtr="0"/>
          <a:lstStyle>
            <a:lvl1pPr algn="l">
              <a:defRPr sz="3000">
                <a:solidFill>
                  <a:schemeClr val="tx1"/>
                </a:solidFill>
              </a:defRPr>
            </a:lvl1pPr>
          </a:lstStyle>
          <a:p>
            <a:r>
              <a:rPr lang="en-AU"/>
              <a:t>Title goes here</a:t>
            </a:r>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916305" y="5976747"/>
            <a:ext cx="3600000" cy="252000"/>
          </a:xfrm>
        </p:spPr>
        <p:txBody>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25" name="Text Placeholder 23">
            <a:extLst>
              <a:ext uri="{FF2B5EF4-FFF2-40B4-BE49-F238E27FC236}">
                <a16:creationId xmlns:a16="http://schemas.microsoft.com/office/drawing/2014/main" id="{1FE731C3-8128-7CC9-181E-1EE52468E737}"/>
              </a:ext>
            </a:extLst>
          </p:cNvPr>
          <p:cNvSpPr>
            <a:spLocks noGrp="1"/>
          </p:cNvSpPr>
          <p:nvPr>
            <p:ph type="body" sz="quarter" idx="35" hasCustomPrompt="1"/>
          </p:nvPr>
        </p:nvSpPr>
        <p:spPr>
          <a:xfrm>
            <a:off x="903343" y="947722"/>
            <a:ext cx="2318400" cy="4572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Tree>
    <p:extLst>
      <p:ext uri="{BB962C8B-B14F-4D97-AF65-F5344CB8AC3E}">
        <p14:creationId xmlns:p14="http://schemas.microsoft.com/office/powerpoint/2010/main" val="27881604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mage collage_1">
    <p:spTree>
      <p:nvGrpSpPr>
        <p:cNvPr id="1" name=""/>
        <p:cNvGrpSpPr/>
        <p:nvPr/>
      </p:nvGrpSpPr>
      <p:grpSpPr>
        <a:xfrm>
          <a:off x="0" y="0"/>
          <a:ext cx="0" cy="0"/>
          <a:chOff x="0" y="0"/>
          <a:chExt cx="0" cy="0"/>
        </a:xfrm>
      </p:grpSpPr>
      <p:sp>
        <p:nvSpPr>
          <p:cNvPr id="4" name="Picture Placeholder 11">
            <a:extLst>
              <a:ext uri="{FF2B5EF4-FFF2-40B4-BE49-F238E27FC236}">
                <a16:creationId xmlns:a16="http://schemas.microsoft.com/office/drawing/2014/main" id="{567E98F5-782B-41C2-9E3A-09B0A43BDA80}"/>
              </a:ext>
            </a:extLst>
          </p:cNvPr>
          <p:cNvSpPr>
            <a:spLocks noGrp="1"/>
          </p:cNvSpPr>
          <p:nvPr>
            <p:ph type="pic" sz="quarter" idx="45" hasCustomPrompt="1"/>
          </p:nvPr>
        </p:nvSpPr>
        <p:spPr>
          <a:xfrm>
            <a:off x="0" y="1303280"/>
            <a:ext cx="3676650" cy="4618800"/>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picture</a:t>
            </a:r>
            <a:endParaRPr lang="en-AU"/>
          </a:p>
        </p:txBody>
      </p:sp>
      <p:sp>
        <p:nvSpPr>
          <p:cNvPr id="5" name="Picture Placeholder 11">
            <a:extLst>
              <a:ext uri="{FF2B5EF4-FFF2-40B4-BE49-F238E27FC236}">
                <a16:creationId xmlns:a16="http://schemas.microsoft.com/office/drawing/2014/main" id="{AAAEF392-E7C6-4309-B970-DBE1E786CC9C}"/>
              </a:ext>
            </a:extLst>
          </p:cNvPr>
          <p:cNvSpPr>
            <a:spLocks noGrp="1"/>
          </p:cNvSpPr>
          <p:nvPr>
            <p:ph type="pic" sz="quarter" idx="46" hasCustomPrompt="1"/>
          </p:nvPr>
        </p:nvSpPr>
        <p:spPr>
          <a:xfrm>
            <a:off x="8515350" y="1303280"/>
            <a:ext cx="3676650" cy="4619048"/>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picture</a:t>
            </a:r>
          </a:p>
          <a:p>
            <a:pPr lvl="0" algn="ctr"/>
            <a:r>
              <a:rPr lang="en-AU"/>
              <a:t> </a:t>
            </a:r>
          </a:p>
        </p:txBody>
      </p:sp>
      <p:sp>
        <p:nvSpPr>
          <p:cNvPr id="6" name="Picture Placeholder 11">
            <a:extLst>
              <a:ext uri="{FF2B5EF4-FFF2-40B4-BE49-F238E27FC236}">
                <a16:creationId xmlns:a16="http://schemas.microsoft.com/office/drawing/2014/main" id="{A569D91A-6A3F-46D0-9F4E-2D8F415AB5E9}"/>
              </a:ext>
            </a:extLst>
          </p:cNvPr>
          <p:cNvSpPr>
            <a:spLocks noGrp="1"/>
          </p:cNvSpPr>
          <p:nvPr>
            <p:ph type="pic" sz="quarter" idx="47" hasCustomPrompt="1"/>
          </p:nvPr>
        </p:nvSpPr>
        <p:spPr>
          <a:xfrm>
            <a:off x="3791347" y="1303280"/>
            <a:ext cx="4609306" cy="2268000"/>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picture</a:t>
            </a:r>
            <a:endParaRPr lang="en-AU"/>
          </a:p>
        </p:txBody>
      </p:sp>
      <p:sp>
        <p:nvSpPr>
          <p:cNvPr id="7" name="Picture Placeholder 11">
            <a:extLst>
              <a:ext uri="{FF2B5EF4-FFF2-40B4-BE49-F238E27FC236}">
                <a16:creationId xmlns:a16="http://schemas.microsoft.com/office/drawing/2014/main" id="{E31BD47A-671C-4E8A-A75D-64DA037C55A0}"/>
              </a:ext>
            </a:extLst>
          </p:cNvPr>
          <p:cNvSpPr>
            <a:spLocks noGrp="1"/>
          </p:cNvSpPr>
          <p:nvPr>
            <p:ph type="pic" sz="quarter" idx="48" hasCustomPrompt="1"/>
          </p:nvPr>
        </p:nvSpPr>
        <p:spPr>
          <a:xfrm>
            <a:off x="3791347" y="3654328"/>
            <a:ext cx="4609306" cy="2268000"/>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picture</a:t>
            </a:r>
            <a:endParaRPr lang="en-AU"/>
          </a:p>
        </p:txBody>
      </p:sp>
      <p:sp>
        <p:nvSpPr>
          <p:cNvPr id="9" name="Slide Number Placeholder 8">
            <a:extLst>
              <a:ext uri="{FF2B5EF4-FFF2-40B4-BE49-F238E27FC236}">
                <a16:creationId xmlns:a16="http://schemas.microsoft.com/office/drawing/2014/main" id="{E8EFF081-B585-6C7E-9694-A662FBD5DE41}"/>
              </a:ext>
            </a:extLst>
          </p:cNvPr>
          <p:cNvSpPr>
            <a:spLocks noGrp="1"/>
          </p:cNvSpPr>
          <p:nvPr>
            <p:ph type="sldNum" sz="quarter" idx="49"/>
          </p:nvPr>
        </p:nvSpPr>
        <p:spPr/>
        <p:txBody>
          <a:bodyPr/>
          <a:lstStyle>
            <a:lvl1pPr>
              <a:defRPr>
                <a:solidFill>
                  <a:schemeClr val="tx1"/>
                </a:solidFill>
              </a:defRPr>
            </a:lvl1pPr>
          </a:lstStyle>
          <a:p>
            <a:fld id="{E4C2AD82-1025-4508-97C1-6F7EE5C92734}" type="slidenum">
              <a:rPr lang="en-AU" smtClean="0"/>
              <a:pPr/>
              <a:t>‹#›</a:t>
            </a:fld>
            <a:endParaRPr lang="en-AU"/>
          </a:p>
        </p:txBody>
      </p:sp>
      <p:sp>
        <p:nvSpPr>
          <p:cNvPr id="8" name="Title 7">
            <a:extLst>
              <a:ext uri="{FF2B5EF4-FFF2-40B4-BE49-F238E27FC236}">
                <a16:creationId xmlns:a16="http://schemas.microsoft.com/office/drawing/2014/main" id="{388C401E-701B-A533-619C-781B4A579E6F}"/>
              </a:ext>
            </a:extLst>
          </p:cNvPr>
          <p:cNvSpPr>
            <a:spLocks noGrp="1"/>
          </p:cNvSpPr>
          <p:nvPr>
            <p:ph type="title"/>
          </p:nvPr>
        </p:nvSpPr>
        <p:spPr/>
        <p:txBody>
          <a:bodyPr/>
          <a:lstStyle/>
          <a:p>
            <a:r>
              <a:rPr lang="en-US"/>
              <a:t>Click to edit Master title style</a:t>
            </a:r>
            <a:endParaRPr lang="en-AU"/>
          </a:p>
        </p:txBody>
      </p:sp>
      <p:sp>
        <p:nvSpPr>
          <p:cNvPr id="2" name="Footer Placeholder 4">
            <a:extLst>
              <a:ext uri="{FF2B5EF4-FFF2-40B4-BE49-F238E27FC236}">
                <a16:creationId xmlns:a16="http://schemas.microsoft.com/office/drawing/2014/main" id="{9DAB6D60-0975-B735-4345-8F252DC20EB9}"/>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41295162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collage_2">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EF65264D-1DB0-475A-94C2-4CDB9DEEE830}"/>
              </a:ext>
            </a:extLst>
          </p:cNvPr>
          <p:cNvSpPr>
            <a:spLocks noGrp="1"/>
          </p:cNvSpPr>
          <p:nvPr>
            <p:ph type="pic" sz="quarter" idx="46" hasCustomPrompt="1"/>
          </p:nvPr>
        </p:nvSpPr>
        <p:spPr>
          <a:xfrm>
            <a:off x="6286500" y="135574"/>
            <a:ext cx="2952000" cy="3368644"/>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a:t>
            </a:r>
            <a:r>
              <a:rPr lang="en-AU"/>
              <a:t>picture</a:t>
            </a:r>
          </a:p>
        </p:txBody>
      </p:sp>
      <p:sp>
        <p:nvSpPr>
          <p:cNvPr id="8" name="Picture Placeholder 11">
            <a:extLst>
              <a:ext uri="{FF2B5EF4-FFF2-40B4-BE49-F238E27FC236}">
                <a16:creationId xmlns:a16="http://schemas.microsoft.com/office/drawing/2014/main" id="{5C000396-C074-41AC-B95B-1A20F11C7DFD}"/>
              </a:ext>
            </a:extLst>
          </p:cNvPr>
          <p:cNvSpPr>
            <a:spLocks noGrp="1"/>
          </p:cNvSpPr>
          <p:nvPr>
            <p:ph type="pic" sz="quarter" idx="47" hasCustomPrompt="1"/>
          </p:nvPr>
        </p:nvSpPr>
        <p:spPr>
          <a:xfrm>
            <a:off x="9240856" y="135574"/>
            <a:ext cx="2952000" cy="3368644"/>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a:t>
            </a:r>
            <a:r>
              <a:rPr lang="en-AU"/>
              <a:t>picture</a:t>
            </a:r>
          </a:p>
        </p:txBody>
      </p:sp>
      <p:sp>
        <p:nvSpPr>
          <p:cNvPr id="9" name="Picture Placeholder 11">
            <a:extLst>
              <a:ext uri="{FF2B5EF4-FFF2-40B4-BE49-F238E27FC236}">
                <a16:creationId xmlns:a16="http://schemas.microsoft.com/office/drawing/2014/main" id="{D278DA27-5717-48D9-B165-AC1658089D8C}"/>
              </a:ext>
            </a:extLst>
          </p:cNvPr>
          <p:cNvSpPr>
            <a:spLocks noGrp="1"/>
          </p:cNvSpPr>
          <p:nvPr>
            <p:ph type="pic" sz="quarter" idx="48" hasCustomPrompt="1"/>
          </p:nvPr>
        </p:nvSpPr>
        <p:spPr>
          <a:xfrm>
            <a:off x="6286073" y="3498386"/>
            <a:ext cx="2952000" cy="3359613"/>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a:t>
            </a:r>
            <a:r>
              <a:rPr lang="en-AU"/>
              <a:t>picture</a:t>
            </a:r>
          </a:p>
        </p:txBody>
      </p:sp>
      <p:sp>
        <p:nvSpPr>
          <p:cNvPr id="10" name="Picture Placeholder 11">
            <a:extLst>
              <a:ext uri="{FF2B5EF4-FFF2-40B4-BE49-F238E27FC236}">
                <a16:creationId xmlns:a16="http://schemas.microsoft.com/office/drawing/2014/main" id="{1CFDE815-8B15-4EDE-8E34-A8BD67CF6919}"/>
              </a:ext>
            </a:extLst>
          </p:cNvPr>
          <p:cNvSpPr>
            <a:spLocks noGrp="1"/>
          </p:cNvSpPr>
          <p:nvPr>
            <p:ph type="pic" sz="quarter" idx="49" hasCustomPrompt="1"/>
          </p:nvPr>
        </p:nvSpPr>
        <p:spPr>
          <a:xfrm>
            <a:off x="9240000" y="3498386"/>
            <a:ext cx="2952000" cy="3359613"/>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a:t>Click on the icon to insert a </a:t>
            </a:r>
            <a:r>
              <a:rPr lang="en-AU"/>
              <a:t>picture and send to back</a:t>
            </a:r>
          </a:p>
        </p:txBody>
      </p:sp>
      <p:sp>
        <p:nvSpPr>
          <p:cNvPr id="4" name="Slide Number Placeholder 3">
            <a:extLst>
              <a:ext uri="{FF2B5EF4-FFF2-40B4-BE49-F238E27FC236}">
                <a16:creationId xmlns:a16="http://schemas.microsoft.com/office/drawing/2014/main" id="{A06CE19E-17FC-6F77-5504-5FC246527331}"/>
              </a:ext>
            </a:extLst>
          </p:cNvPr>
          <p:cNvSpPr>
            <a:spLocks noGrp="1"/>
          </p:cNvSpPr>
          <p:nvPr>
            <p:ph type="sldNum" sz="quarter" idx="50"/>
          </p:nvPr>
        </p:nvSpPr>
        <p:spPr/>
        <p:txBody>
          <a:bodyPr/>
          <a:lstStyle/>
          <a:p>
            <a:fld id="{E4C2AD82-1025-4508-97C1-6F7EE5C92734}" type="slidenum">
              <a:rPr lang="en-AU" smtClean="0"/>
              <a:pPr/>
              <a:t>‹#›</a:t>
            </a:fld>
            <a:endParaRPr lang="en-AU"/>
          </a:p>
        </p:txBody>
      </p:sp>
      <p:sp>
        <p:nvSpPr>
          <p:cNvPr id="11" name="Text Placeholder 10">
            <a:extLst>
              <a:ext uri="{FF2B5EF4-FFF2-40B4-BE49-F238E27FC236}">
                <a16:creationId xmlns:a16="http://schemas.microsoft.com/office/drawing/2014/main" id="{AEFDFB79-50ED-7D98-A80E-3D0F0C1B5FD4}"/>
              </a:ext>
            </a:extLst>
          </p:cNvPr>
          <p:cNvSpPr>
            <a:spLocks noGrp="1"/>
          </p:cNvSpPr>
          <p:nvPr>
            <p:ph type="body" sz="quarter" idx="51"/>
          </p:nvPr>
        </p:nvSpPr>
        <p:spPr>
          <a:xfrm>
            <a:off x="479425" y="2097088"/>
            <a:ext cx="5387975" cy="3795712"/>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itle 13">
            <a:extLst>
              <a:ext uri="{FF2B5EF4-FFF2-40B4-BE49-F238E27FC236}">
                <a16:creationId xmlns:a16="http://schemas.microsoft.com/office/drawing/2014/main" id="{340CF644-3CD0-A3D7-7082-D1F70F313D96}"/>
              </a:ext>
            </a:extLst>
          </p:cNvPr>
          <p:cNvSpPr>
            <a:spLocks noGrp="1"/>
          </p:cNvSpPr>
          <p:nvPr>
            <p:ph type="title"/>
          </p:nvPr>
        </p:nvSpPr>
        <p:spPr>
          <a:xfrm>
            <a:off x="479425" y="604203"/>
            <a:ext cx="5387975" cy="746695"/>
          </a:xfrm>
        </p:spPr>
        <p:txBody>
          <a:bodyPr/>
          <a:lstStyle/>
          <a:p>
            <a:r>
              <a:rPr lang="en-US"/>
              <a:t>Click to edit Master title style</a:t>
            </a:r>
            <a:endParaRPr lang="en-AU"/>
          </a:p>
        </p:txBody>
      </p:sp>
      <p:sp>
        <p:nvSpPr>
          <p:cNvPr id="2" name="Text Placeholder 5">
            <a:extLst>
              <a:ext uri="{FF2B5EF4-FFF2-40B4-BE49-F238E27FC236}">
                <a16:creationId xmlns:a16="http://schemas.microsoft.com/office/drawing/2014/main" id="{B7C9AC36-F786-5770-4BC3-DBF17D24D8FD}"/>
              </a:ext>
            </a:extLst>
          </p:cNvPr>
          <p:cNvSpPr>
            <a:spLocks noGrp="1" noChangeAspect="1"/>
          </p:cNvSpPr>
          <p:nvPr>
            <p:ph type="body" sz="quarter" idx="35" hasCustomPrompt="1"/>
          </p:nvPr>
        </p:nvSpPr>
        <p:spPr>
          <a:xfrm>
            <a:off x="10904437"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5" name="Footer Placeholder 4">
            <a:extLst>
              <a:ext uri="{FF2B5EF4-FFF2-40B4-BE49-F238E27FC236}">
                <a16:creationId xmlns:a16="http://schemas.microsoft.com/office/drawing/2014/main" id="{F266F571-E920-921F-6658-87C248074EA6}"/>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53324869"/>
      </p:ext>
    </p:extLst>
  </p:cSld>
  <p:clrMapOvr>
    <a:masterClrMapping/>
  </p:clrMapOvr>
  <p:extLst>
    <p:ext uri="{DCECCB84-F9BA-43D5-87BE-67443E8EF086}">
      <p15:sldGuideLst xmlns:p15="http://schemas.microsoft.com/office/powerpoint/2012/main">
        <p15:guide id="3" pos="3960" userDrawn="1">
          <p15:clr>
            <a:srgbClr val="FBAE40"/>
          </p15:clr>
        </p15:guide>
        <p15:guide id="4" pos="3696"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 Column and 2 images">
    <p:spTree>
      <p:nvGrpSpPr>
        <p:cNvPr id="1" name=""/>
        <p:cNvGrpSpPr/>
        <p:nvPr/>
      </p:nvGrpSpPr>
      <p:grpSpPr>
        <a:xfrm>
          <a:off x="0" y="0"/>
          <a:ext cx="0" cy="0"/>
          <a:chOff x="0" y="0"/>
          <a:chExt cx="0" cy="0"/>
        </a:xfrm>
      </p:grpSpPr>
      <p:sp>
        <p:nvSpPr>
          <p:cNvPr id="5" name="Text Placeholder 24">
            <a:extLst>
              <a:ext uri="{FF2B5EF4-FFF2-40B4-BE49-F238E27FC236}">
                <a16:creationId xmlns:a16="http://schemas.microsoft.com/office/drawing/2014/main" id="{F23C8669-0CAD-1FD3-274D-8111F8BBF6BE}"/>
              </a:ext>
            </a:extLst>
          </p:cNvPr>
          <p:cNvSpPr>
            <a:spLocks noGrp="1"/>
          </p:cNvSpPr>
          <p:nvPr>
            <p:ph type="body" sz="quarter" idx="71"/>
          </p:nvPr>
        </p:nvSpPr>
        <p:spPr>
          <a:xfrm>
            <a:off x="479425" y="2097088"/>
            <a:ext cx="4440238" cy="3800792"/>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07D4BD77-5A6E-21D3-C6B0-F139AD5E8FA8}"/>
              </a:ext>
            </a:extLst>
          </p:cNvPr>
          <p:cNvSpPr>
            <a:spLocks noGrp="1"/>
          </p:cNvSpPr>
          <p:nvPr>
            <p:ph type="pic" sz="quarter" idx="73" hasCustomPrompt="1"/>
          </p:nvPr>
        </p:nvSpPr>
        <p:spPr>
          <a:xfrm>
            <a:off x="5443365" y="2097089"/>
            <a:ext cx="3191349" cy="3795711"/>
          </a:xfrm>
          <a:prstGeom prst="rect">
            <a:avLst/>
          </a:prstGeom>
          <a:solidFill>
            <a:schemeClr val="bg1">
              <a:lumMod val="95000"/>
            </a:schemeClr>
          </a:solidFill>
        </p:spPr>
        <p:txBody>
          <a:bodyPr wrap="square" anchor="ctr" anchorCtr="1">
            <a:noAutofit/>
          </a:bodyPr>
          <a:lstStyle>
            <a:lvl1pPr algn="ctr">
              <a:defRPr/>
            </a:lvl1pPr>
          </a:lstStyle>
          <a:p>
            <a:r>
              <a:rPr lang="en-AU"/>
              <a:t>Click on icon to insert image </a:t>
            </a:r>
            <a:br>
              <a:rPr lang="en-AU"/>
            </a:br>
            <a:r>
              <a:rPr lang="en-AU"/>
              <a:t>and send to back</a:t>
            </a:r>
          </a:p>
        </p:txBody>
      </p:sp>
      <p:sp>
        <p:nvSpPr>
          <p:cNvPr id="4" name="Title 3">
            <a:extLst>
              <a:ext uri="{FF2B5EF4-FFF2-40B4-BE49-F238E27FC236}">
                <a16:creationId xmlns:a16="http://schemas.microsoft.com/office/drawing/2014/main" id="{1F6056B6-016C-9C7A-5C91-CE3426A04653}"/>
              </a:ext>
            </a:extLst>
          </p:cNvPr>
          <p:cNvSpPr>
            <a:spLocks noGrp="1"/>
          </p:cNvSpPr>
          <p:nvPr>
            <p:ph type="title"/>
          </p:nvPr>
        </p:nvSpPr>
        <p:spPr/>
        <p:txBody>
          <a:bodyPr/>
          <a:lstStyle/>
          <a:p>
            <a:r>
              <a:rPr lang="en-US"/>
              <a:t>Click to edit Master title style</a:t>
            </a:r>
            <a:endParaRPr lang="en-AU"/>
          </a:p>
        </p:txBody>
      </p:sp>
      <p:sp>
        <p:nvSpPr>
          <p:cNvPr id="8" name="Picture Placeholder 8">
            <a:extLst>
              <a:ext uri="{FF2B5EF4-FFF2-40B4-BE49-F238E27FC236}">
                <a16:creationId xmlns:a16="http://schemas.microsoft.com/office/drawing/2014/main" id="{810D544F-F8CA-AD59-0F6E-56150D59DF18}"/>
              </a:ext>
            </a:extLst>
          </p:cNvPr>
          <p:cNvSpPr>
            <a:spLocks noGrp="1"/>
          </p:cNvSpPr>
          <p:nvPr>
            <p:ph type="pic" sz="quarter" idx="74" hasCustomPrompt="1"/>
          </p:nvPr>
        </p:nvSpPr>
        <p:spPr>
          <a:xfrm>
            <a:off x="8987893" y="2097089"/>
            <a:ext cx="3204000" cy="3795711"/>
          </a:xfrm>
          <a:prstGeom prst="rect">
            <a:avLst/>
          </a:prstGeom>
          <a:solidFill>
            <a:schemeClr val="bg1">
              <a:lumMod val="95000"/>
            </a:schemeClr>
          </a:solidFill>
        </p:spPr>
        <p:txBody>
          <a:bodyPr wrap="square" anchor="ctr" anchorCtr="1">
            <a:noAutofit/>
          </a:bodyPr>
          <a:lstStyle>
            <a:lvl1pPr algn="ctr">
              <a:defRPr/>
            </a:lvl1pPr>
          </a:lstStyle>
          <a:p>
            <a:r>
              <a:rPr lang="en-AU"/>
              <a:t>Click on icon to insert image </a:t>
            </a:r>
            <a:br>
              <a:rPr lang="en-AU"/>
            </a:br>
            <a:r>
              <a:rPr lang="en-AU"/>
              <a:t>and send to back</a:t>
            </a:r>
          </a:p>
        </p:txBody>
      </p:sp>
      <p:sp>
        <p:nvSpPr>
          <p:cNvPr id="2" name="Slide Number Placeholder 1">
            <a:extLst>
              <a:ext uri="{FF2B5EF4-FFF2-40B4-BE49-F238E27FC236}">
                <a16:creationId xmlns:a16="http://schemas.microsoft.com/office/drawing/2014/main" id="{3EEB6B39-EBE3-99DB-2B28-C06A773BE1AB}"/>
              </a:ext>
            </a:extLst>
          </p:cNvPr>
          <p:cNvSpPr>
            <a:spLocks noGrp="1"/>
          </p:cNvSpPr>
          <p:nvPr>
            <p:ph type="sldNum" sz="quarter" idx="75"/>
          </p:nvPr>
        </p:nvSpPr>
        <p:spPr/>
        <p:txBody>
          <a:bodyPr/>
          <a:lstStyle/>
          <a:p>
            <a:fld id="{E4C2AD82-1025-4508-97C1-6F7EE5C92734}" type="slidenum">
              <a:rPr lang="en-AU" smtClean="0"/>
              <a:pPr/>
              <a:t>‹#›</a:t>
            </a:fld>
            <a:endParaRPr lang="en-AU"/>
          </a:p>
        </p:txBody>
      </p:sp>
      <p:sp>
        <p:nvSpPr>
          <p:cNvPr id="6" name="Footer Placeholder 4">
            <a:extLst>
              <a:ext uri="{FF2B5EF4-FFF2-40B4-BE49-F238E27FC236}">
                <a16:creationId xmlns:a16="http://schemas.microsoft.com/office/drawing/2014/main" id="{91BDA449-3D93-D2F1-B813-FEDA902B7DCE}"/>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577865122"/>
      </p:ext>
    </p:extLst>
  </p:cSld>
  <p:clrMapOvr>
    <a:masterClrMapping/>
  </p:clrMapOvr>
  <p:extLst>
    <p:ext uri="{DCECCB84-F9BA-43D5-87BE-67443E8EF086}">
      <p15:sldGuideLst xmlns:p15="http://schemas.microsoft.com/office/powerpoint/2012/main">
        <p15:guide id="3" pos="3099" userDrawn="1">
          <p15:clr>
            <a:srgbClr val="FBAE40"/>
          </p15:clr>
        </p15:guide>
        <p15:guide id="4" pos="3427"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 Column + 4  stats_image">
    <p:spTree>
      <p:nvGrpSpPr>
        <p:cNvPr id="1" name=""/>
        <p:cNvGrpSpPr/>
        <p:nvPr/>
      </p:nvGrpSpPr>
      <p:grpSpPr>
        <a:xfrm>
          <a:off x="0" y="0"/>
          <a:ext cx="0" cy="0"/>
          <a:chOff x="0" y="0"/>
          <a:chExt cx="0" cy="0"/>
        </a:xfrm>
      </p:grpSpPr>
      <p:sp>
        <p:nvSpPr>
          <p:cNvPr id="4" name="Picture Placeholder 10">
            <a:extLst>
              <a:ext uri="{FF2B5EF4-FFF2-40B4-BE49-F238E27FC236}">
                <a16:creationId xmlns:a16="http://schemas.microsoft.com/office/drawing/2014/main" id="{26AF362E-0C64-5A7B-97BC-7BC191E4FA55}"/>
              </a:ext>
            </a:extLst>
          </p:cNvPr>
          <p:cNvSpPr>
            <a:spLocks noGrp="1"/>
          </p:cNvSpPr>
          <p:nvPr>
            <p:ph type="pic" sz="quarter" idx="54" hasCustomPrompt="1"/>
          </p:nvPr>
        </p:nvSpPr>
        <p:spPr>
          <a:xfrm>
            <a:off x="0" y="3997960"/>
            <a:ext cx="12192001" cy="2860040"/>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tx1">
              <a:alpha val="20000"/>
            </a:schemeClr>
          </a:solidFill>
        </p:spPr>
        <p:txBody>
          <a:bodyPr wrap="square" lIns="0" rIns="0" anchor="b" anchorCtr="1">
            <a:noAutofit/>
          </a:bodyPr>
          <a:lstStyle>
            <a:lvl1pPr algn="ctr">
              <a:defRPr/>
            </a:lvl1pPr>
          </a:lstStyle>
          <a:p>
            <a:r>
              <a:rPr lang="en-AU"/>
              <a:t> </a:t>
            </a:r>
          </a:p>
        </p:txBody>
      </p:sp>
      <p:sp>
        <p:nvSpPr>
          <p:cNvPr id="8" name="Picture Placeholder 10">
            <a:extLst>
              <a:ext uri="{FF2B5EF4-FFF2-40B4-BE49-F238E27FC236}">
                <a16:creationId xmlns:a16="http://schemas.microsoft.com/office/drawing/2014/main" id="{8AAE1BA5-EA96-2CA9-0103-C09C7104CFC0}"/>
              </a:ext>
            </a:extLst>
          </p:cNvPr>
          <p:cNvSpPr>
            <a:spLocks noGrp="1"/>
          </p:cNvSpPr>
          <p:nvPr>
            <p:ph type="pic" sz="quarter" idx="34" hasCustomPrompt="1"/>
          </p:nvPr>
        </p:nvSpPr>
        <p:spPr>
          <a:xfrm>
            <a:off x="0" y="3997960"/>
            <a:ext cx="12192001" cy="2860040"/>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20" name="Text Placeholder 19">
            <a:extLst>
              <a:ext uri="{FF2B5EF4-FFF2-40B4-BE49-F238E27FC236}">
                <a16:creationId xmlns:a16="http://schemas.microsoft.com/office/drawing/2014/main" id="{340BA62A-590F-4C2C-BBD5-5A53EA82F37E}"/>
              </a:ext>
            </a:extLst>
          </p:cNvPr>
          <p:cNvSpPr>
            <a:spLocks noGrp="1"/>
          </p:cNvSpPr>
          <p:nvPr>
            <p:ph type="body" sz="quarter" idx="19" hasCustomPrompt="1"/>
          </p:nvPr>
        </p:nvSpPr>
        <p:spPr>
          <a:xfrm>
            <a:off x="443681" y="4885705"/>
            <a:ext cx="1915477" cy="1007095"/>
          </a:xfrm>
        </p:spPr>
        <p:txBody>
          <a:bodyPr/>
          <a:lstStyle>
            <a:lvl1pPr>
              <a:lnSpc>
                <a:spcPct val="100000"/>
              </a:lnSpc>
              <a:spcBef>
                <a:spcPts val="0"/>
              </a:spcBef>
              <a:spcAft>
                <a:spcPts val="0"/>
              </a:spcAft>
              <a:defRPr lang="en-US" sz="4000" b="1" kern="1200" dirty="0" smtClean="0">
                <a:solidFill>
                  <a:schemeClr val="bg1"/>
                </a:solidFill>
                <a:latin typeface="+mj-lt"/>
                <a:ea typeface="+mn-ea"/>
                <a:cs typeface="+mn-cs"/>
              </a:defRPr>
            </a:lvl1pPr>
            <a:lvl2pPr marL="0" indent="0">
              <a:lnSpc>
                <a:spcPct val="100000"/>
              </a:lnSpc>
              <a:spcBef>
                <a:spcPts val="0"/>
              </a:spcBef>
              <a:spcAft>
                <a:spcPts val="0"/>
              </a:spcAft>
              <a:buNone/>
              <a:defRPr lang="en-US" sz="14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22" name="Text Placeholder 19">
            <a:extLst>
              <a:ext uri="{FF2B5EF4-FFF2-40B4-BE49-F238E27FC236}">
                <a16:creationId xmlns:a16="http://schemas.microsoft.com/office/drawing/2014/main" id="{4E934AF0-667D-4EFD-9E56-14D14E492C4C}"/>
              </a:ext>
            </a:extLst>
          </p:cNvPr>
          <p:cNvSpPr>
            <a:spLocks noGrp="1"/>
          </p:cNvSpPr>
          <p:nvPr>
            <p:ph type="body" sz="quarter" idx="21" hasCustomPrompt="1"/>
          </p:nvPr>
        </p:nvSpPr>
        <p:spPr>
          <a:xfrm>
            <a:off x="2928331" y="4885705"/>
            <a:ext cx="1915477" cy="1007095"/>
          </a:xfrm>
        </p:spPr>
        <p:txBody>
          <a:bodyPr/>
          <a:lstStyle>
            <a:lvl1pPr>
              <a:lnSpc>
                <a:spcPct val="100000"/>
              </a:lnSpc>
              <a:spcBef>
                <a:spcPts val="0"/>
              </a:spcBef>
              <a:spcAft>
                <a:spcPts val="0"/>
              </a:spcAft>
              <a:defRPr lang="en-US" sz="4000" b="1" kern="1200" dirty="0" smtClean="0">
                <a:solidFill>
                  <a:schemeClr val="bg1"/>
                </a:solidFill>
                <a:latin typeface="+mj-lt"/>
                <a:ea typeface="+mn-ea"/>
                <a:cs typeface="+mn-cs"/>
              </a:defRPr>
            </a:lvl1pPr>
            <a:lvl2pPr marL="0" indent="0">
              <a:lnSpc>
                <a:spcPct val="100000"/>
              </a:lnSpc>
              <a:spcBef>
                <a:spcPts val="0"/>
              </a:spcBef>
              <a:spcAft>
                <a:spcPts val="0"/>
              </a:spcAft>
              <a:buNone/>
              <a:defRPr lang="en-US" sz="14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24" name="Text Placeholder 19">
            <a:extLst>
              <a:ext uri="{FF2B5EF4-FFF2-40B4-BE49-F238E27FC236}">
                <a16:creationId xmlns:a16="http://schemas.microsoft.com/office/drawing/2014/main" id="{8C15FB2A-52D1-4976-B95C-A8335C5CEA69}"/>
              </a:ext>
            </a:extLst>
          </p:cNvPr>
          <p:cNvSpPr>
            <a:spLocks noGrp="1"/>
          </p:cNvSpPr>
          <p:nvPr>
            <p:ph type="body" sz="quarter" idx="23" hasCustomPrompt="1"/>
          </p:nvPr>
        </p:nvSpPr>
        <p:spPr>
          <a:xfrm>
            <a:off x="5383303" y="4885705"/>
            <a:ext cx="1915477" cy="1007095"/>
          </a:xfrm>
        </p:spPr>
        <p:txBody>
          <a:bodyPr/>
          <a:lstStyle>
            <a:lvl1pPr>
              <a:lnSpc>
                <a:spcPct val="100000"/>
              </a:lnSpc>
              <a:spcBef>
                <a:spcPts val="0"/>
              </a:spcBef>
              <a:spcAft>
                <a:spcPts val="0"/>
              </a:spcAft>
              <a:defRPr lang="en-US" sz="4000" b="1" kern="1200" dirty="0" smtClean="0">
                <a:solidFill>
                  <a:schemeClr val="bg1"/>
                </a:solidFill>
                <a:latin typeface="+mj-lt"/>
                <a:ea typeface="+mn-ea"/>
                <a:cs typeface="+mn-cs"/>
              </a:defRPr>
            </a:lvl1pPr>
            <a:lvl2pPr marL="0" indent="0">
              <a:lnSpc>
                <a:spcPct val="100000"/>
              </a:lnSpc>
              <a:spcBef>
                <a:spcPts val="0"/>
              </a:spcBef>
              <a:spcAft>
                <a:spcPts val="0"/>
              </a:spcAft>
              <a:buNone/>
              <a:defRPr lang="en-US" sz="14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31" name="Text Placeholder 19">
            <a:extLst>
              <a:ext uri="{FF2B5EF4-FFF2-40B4-BE49-F238E27FC236}">
                <a16:creationId xmlns:a16="http://schemas.microsoft.com/office/drawing/2014/main" id="{E10F307D-AA6D-4390-AFBD-EA5C9846CD80}"/>
              </a:ext>
            </a:extLst>
          </p:cNvPr>
          <p:cNvSpPr>
            <a:spLocks noGrp="1"/>
          </p:cNvSpPr>
          <p:nvPr>
            <p:ph type="body" sz="quarter" idx="31" hasCustomPrompt="1"/>
          </p:nvPr>
        </p:nvSpPr>
        <p:spPr>
          <a:xfrm>
            <a:off x="7897631" y="4885705"/>
            <a:ext cx="1915477" cy="1007095"/>
          </a:xfrm>
        </p:spPr>
        <p:txBody>
          <a:bodyPr/>
          <a:lstStyle>
            <a:lvl1pPr>
              <a:lnSpc>
                <a:spcPct val="100000"/>
              </a:lnSpc>
              <a:spcBef>
                <a:spcPts val="0"/>
              </a:spcBef>
              <a:spcAft>
                <a:spcPts val="0"/>
              </a:spcAft>
              <a:defRPr lang="en-US" sz="4000" b="1" kern="1200" dirty="0" smtClean="0">
                <a:solidFill>
                  <a:schemeClr val="bg1"/>
                </a:solidFill>
                <a:latin typeface="+mj-lt"/>
                <a:ea typeface="+mn-ea"/>
                <a:cs typeface="+mn-cs"/>
              </a:defRPr>
            </a:lvl1pPr>
            <a:lvl2pPr marL="0" indent="0">
              <a:lnSpc>
                <a:spcPct val="100000"/>
              </a:lnSpc>
              <a:spcBef>
                <a:spcPts val="0"/>
              </a:spcBef>
              <a:spcAft>
                <a:spcPts val="0"/>
              </a:spcAft>
              <a:buNone/>
              <a:defRPr lang="en-US" sz="1400" kern="1200" dirty="0" smtClean="0">
                <a:solidFill>
                  <a:schemeClr val="bg1"/>
                </a:solidFill>
                <a:latin typeface="+mn-lt"/>
                <a:ea typeface="+mn-ea"/>
                <a:cs typeface="+mn-cs"/>
              </a:defRPr>
            </a:lvl2pPr>
          </a:lstStyle>
          <a:p>
            <a:pPr lvl="0"/>
            <a:r>
              <a:rPr lang="en-US"/>
              <a:t>##</a:t>
            </a:r>
          </a:p>
          <a:p>
            <a:pPr lvl="1"/>
            <a:r>
              <a:rPr lang="en-US"/>
              <a:t>Second level</a:t>
            </a:r>
            <a:endParaRPr lang="en-AU"/>
          </a:p>
        </p:txBody>
      </p:sp>
      <p:sp>
        <p:nvSpPr>
          <p:cNvPr id="2" name="Title 1">
            <a:extLst>
              <a:ext uri="{FF2B5EF4-FFF2-40B4-BE49-F238E27FC236}">
                <a16:creationId xmlns:a16="http://schemas.microsoft.com/office/drawing/2014/main" id="{89552DE1-1916-C2A7-CFEE-218026B1186B}"/>
              </a:ext>
            </a:extLst>
          </p:cNvPr>
          <p:cNvSpPr>
            <a:spLocks noGrp="1"/>
          </p:cNvSpPr>
          <p:nvPr>
            <p:ph type="title"/>
          </p:nvPr>
        </p:nvSpPr>
        <p:spPr/>
        <p:txBody>
          <a:bodyPr/>
          <a:lstStyle/>
          <a:p>
            <a:r>
              <a:rPr lang="en-US"/>
              <a:t>Click to edit Master title style</a:t>
            </a:r>
            <a:endParaRPr lang="en-AU"/>
          </a:p>
        </p:txBody>
      </p:sp>
      <p:sp>
        <p:nvSpPr>
          <p:cNvPr id="6" name="Text Placeholder 5">
            <a:extLst>
              <a:ext uri="{FF2B5EF4-FFF2-40B4-BE49-F238E27FC236}">
                <a16:creationId xmlns:a16="http://schemas.microsoft.com/office/drawing/2014/main" id="{8253C086-39CE-916D-A665-76566F3CAF57}"/>
              </a:ext>
            </a:extLst>
          </p:cNvPr>
          <p:cNvSpPr>
            <a:spLocks noGrp="1"/>
          </p:cNvSpPr>
          <p:nvPr>
            <p:ph type="body" sz="quarter" idx="45"/>
          </p:nvPr>
        </p:nvSpPr>
        <p:spPr>
          <a:xfrm>
            <a:off x="482600" y="2097088"/>
            <a:ext cx="10977563" cy="1658938"/>
          </a:xfrm>
        </p:spPr>
        <p:txBody>
          <a:bodyPr/>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8" name="Freeform: Shape 37">
            <a:extLst>
              <a:ext uri="{FF2B5EF4-FFF2-40B4-BE49-F238E27FC236}">
                <a16:creationId xmlns:a16="http://schemas.microsoft.com/office/drawing/2014/main" id="{715CE2AD-6A0D-3A91-6D27-336BC601CA6F}"/>
              </a:ext>
            </a:extLst>
          </p:cNvPr>
          <p:cNvSpPr txBox="1">
            <a:spLocks/>
          </p:cNvSpPr>
          <p:nvPr/>
        </p:nvSpPr>
        <p:spPr>
          <a:xfrm>
            <a:off x="12192000" y="1736725"/>
            <a:ext cx="1625" cy="1223"/>
          </a:xfrm>
          <a:custGeom>
            <a:avLst/>
            <a:gdLst>
              <a:gd name="connsiteX0" fmla="*/ 1625 w 1625"/>
              <a:gd name="connsiteY0" fmla="*/ 0 h 1223"/>
              <a:gd name="connsiteX1" fmla="*/ 0 w 1625"/>
              <a:gd name="connsiteY1" fmla="*/ 1223 h 1223"/>
              <a:gd name="connsiteX2" fmla="*/ 0 w 1625"/>
              <a:gd name="connsiteY2" fmla="*/ 85 h 1223"/>
              <a:gd name="connsiteX3" fmla="*/ 1625 w 1625"/>
              <a:gd name="connsiteY3" fmla="*/ 0 h 1223"/>
            </a:gdLst>
            <a:ahLst/>
            <a:cxnLst>
              <a:cxn ang="0">
                <a:pos x="connsiteX0" y="connsiteY0"/>
              </a:cxn>
              <a:cxn ang="0">
                <a:pos x="connsiteX1" y="connsiteY1"/>
              </a:cxn>
              <a:cxn ang="0">
                <a:pos x="connsiteX2" y="connsiteY2"/>
              </a:cxn>
              <a:cxn ang="0">
                <a:pos x="connsiteX3" y="connsiteY3"/>
              </a:cxn>
            </a:cxnLst>
            <a:rect l="l" t="t" r="r" b="b"/>
            <a:pathLst>
              <a:path w="1625" h="1223">
                <a:moveTo>
                  <a:pt x="1625" y="0"/>
                </a:moveTo>
                <a:lnTo>
                  <a:pt x="0" y="1223"/>
                </a:lnTo>
                <a:lnTo>
                  <a:pt x="0" y="85"/>
                </a:lnTo>
                <a:lnTo>
                  <a:pt x="1625" y="0"/>
                </a:lnTo>
                <a:close/>
              </a:path>
            </a:pathLst>
          </a:custGeom>
          <a:solidFill>
            <a:schemeClr val="accent1"/>
          </a:solidFill>
        </p:spPr>
        <p:txBody>
          <a:bodyPr vert="horz" wrap="square"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7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400" kern="1200">
                <a:solidFill>
                  <a:schemeClr val="tx1"/>
                </a:solidFill>
                <a:latin typeface="+mn-lt"/>
                <a:ea typeface="+mn-ea"/>
                <a:cs typeface="+mn-cs"/>
              </a:defRPr>
            </a:lvl2pPr>
            <a:lvl3pPr marL="180975" indent="-180975" algn="l" defTabSz="914400" rtl="0" eaLnBrk="1" latinLnBrk="0" hangingPunct="1">
              <a:lnSpc>
                <a:spcPct val="100000"/>
              </a:lnSpc>
              <a:spcBef>
                <a:spcPts val="300"/>
              </a:spcBef>
              <a:spcAft>
                <a:spcPts val="300"/>
              </a:spcAft>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300"/>
              </a:spcBef>
              <a:spcAft>
                <a:spcPts val="300"/>
              </a:spcAft>
              <a:buFontTx/>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AU"/>
          </a:p>
        </p:txBody>
      </p:sp>
      <p:sp>
        <p:nvSpPr>
          <p:cNvPr id="37" name="Freeform: Shape 36">
            <a:extLst>
              <a:ext uri="{FF2B5EF4-FFF2-40B4-BE49-F238E27FC236}">
                <a16:creationId xmlns:a16="http://schemas.microsoft.com/office/drawing/2014/main" id="{C2C32356-74BA-EC3A-3544-22F61ACA2816}"/>
              </a:ext>
            </a:extLst>
          </p:cNvPr>
          <p:cNvSpPr txBox="1">
            <a:spLocks/>
          </p:cNvSpPr>
          <p:nvPr/>
        </p:nvSpPr>
        <p:spPr>
          <a:xfrm>
            <a:off x="12191197" y="1737948"/>
            <a:ext cx="803" cy="605"/>
          </a:xfrm>
          <a:custGeom>
            <a:avLst/>
            <a:gdLst>
              <a:gd name="connsiteX0" fmla="*/ 803 w 803"/>
              <a:gd name="connsiteY0" fmla="*/ 0 h 605"/>
              <a:gd name="connsiteX1" fmla="*/ 803 w 803"/>
              <a:gd name="connsiteY1" fmla="*/ 605 h 605"/>
              <a:gd name="connsiteX2" fmla="*/ 0 w 803"/>
              <a:gd name="connsiteY2" fmla="*/ 605 h 605"/>
              <a:gd name="connsiteX3" fmla="*/ 803 w 803"/>
              <a:gd name="connsiteY3" fmla="*/ 0 h 605"/>
            </a:gdLst>
            <a:ahLst/>
            <a:cxnLst>
              <a:cxn ang="0">
                <a:pos x="connsiteX0" y="connsiteY0"/>
              </a:cxn>
              <a:cxn ang="0">
                <a:pos x="connsiteX1" y="connsiteY1"/>
              </a:cxn>
              <a:cxn ang="0">
                <a:pos x="connsiteX2" y="connsiteY2"/>
              </a:cxn>
              <a:cxn ang="0">
                <a:pos x="connsiteX3" y="connsiteY3"/>
              </a:cxn>
            </a:cxnLst>
            <a:rect l="l" t="t" r="r" b="b"/>
            <a:pathLst>
              <a:path w="803" h="605">
                <a:moveTo>
                  <a:pt x="803" y="0"/>
                </a:moveTo>
                <a:lnTo>
                  <a:pt x="803" y="605"/>
                </a:lnTo>
                <a:lnTo>
                  <a:pt x="0" y="605"/>
                </a:lnTo>
                <a:lnTo>
                  <a:pt x="803" y="0"/>
                </a:lnTo>
                <a:close/>
              </a:path>
            </a:pathLst>
          </a:custGeom>
          <a:solidFill>
            <a:schemeClr val="accent1"/>
          </a:solidFill>
        </p:spPr>
        <p:txBody>
          <a:bodyPr vert="horz" wrap="square"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7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400" kern="1200">
                <a:solidFill>
                  <a:schemeClr val="tx1"/>
                </a:solidFill>
                <a:latin typeface="+mn-lt"/>
                <a:ea typeface="+mn-ea"/>
                <a:cs typeface="+mn-cs"/>
              </a:defRPr>
            </a:lvl2pPr>
            <a:lvl3pPr marL="180975" indent="-180975" algn="l" defTabSz="914400" rtl="0" eaLnBrk="1" latinLnBrk="0" hangingPunct="1">
              <a:lnSpc>
                <a:spcPct val="100000"/>
              </a:lnSpc>
              <a:spcBef>
                <a:spcPts val="300"/>
              </a:spcBef>
              <a:spcAft>
                <a:spcPts val="300"/>
              </a:spcAft>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300"/>
              </a:spcBef>
              <a:spcAft>
                <a:spcPts val="300"/>
              </a:spcAft>
              <a:buFontTx/>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AU"/>
          </a:p>
        </p:txBody>
      </p:sp>
      <p:sp>
        <p:nvSpPr>
          <p:cNvPr id="5" name="Slide Number Placeholder 4">
            <a:extLst>
              <a:ext uri="{FF2B5EF4-FFF2-40B4-BE49-F238E27FC236}">
                <a16:creationId xmlns:a16="http://schemas.microsoft.com/office/drawing/2014/main" id="{63CE5F13-5902-5B22-8E1F-7EE207133FF7}"/>
              </a:ext>
            </a:extLst>
          </p:cNvPr>
          <p:cNvSpPr>
            <a:spLocks noGrp="1"/>
          </p:cNvSpPr>
          <p:nvPr>
            <p:ph type="sldNum" sz="quarter" idx="53"/>
          </p:nvPr>
        </p:nvSpPr>
        <p:spPr/>
        <p:txBody>
          <a:bodyPr/>
          <a:lstStyle>
            <a:lvl1pPr>
              <a:defRPr>
                <a:solidFill>
                  <a:schemeClr val="bg1"/>
                </a:solidFill>
              </a:defRPr>
            </a:lvl1pPr>
          </a:lstStyle>
          <a:p>
            <a:fld id="{E4C2AD82-1025-4508-97C1-6F7EE5C92734}" type="slidenum">
              <a:rPr lang="en-AU" smtClean="0"/>
              <a:pPr/>
              <a:t>‹#›</a:t>
            </a:fld>
            <a:endParaRPr lang="en-AU"/>
          </a:p>
        </p:txBody>
      </p:sp>
      <p:sp>
        <p:nvSpPr>
          <p:cNvPr id="9" name="Text Placeholder 5">
            <a:extLst>
              <a:ext uri="{FF2B5EF4-FFF2-40B4-BE49-F238E27FC236}">
                <a16:creationId xmlns:a16="http://schemas.microsoft.com/office/drawing/2014/main" id="{5EB385AE-211C-C46B-21D0-952F377A1188}"/>
              </a:ext>
            </a:extLst>
          </p:cNvPr>
          <p:cNvSpPr>
            <a:spLocks noGrp="1" noChangeAspect="1"/>
          </p:cNvSpPr>
          <p:nvPr>
            <p:ph type="body" sz="quarter" idx="36"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Picture Placeholder 5">
            <a:extLst>
              <a:ext uri="{FF2B5EF4-FFF2-40B4-BE49-F238E27FC236}">
                <a16:creationId xmlns:a16="http://schemas.microsoft.com/office/drawing/2014/main" id="{9506383C-06C7-1EFF-E3B2-8949B6AB75D2}"/>
              </a:ext>
            </a:extLst>
          </p:cNvPr>
          <p:cNvSpPr>
            <a:spLocks noGrp="1"/>
          </p:cNvSpPr>
          <p:nvPr>
            <p:ph type="pic" sz="quarter" idx="42"/>
          </p:nvPr>
        </p:nvSpPr>
        <p:spPr>
          <a:xfrm>
            <a:off x="443681" y="4159991"/>
            <a:ext cx="504000" cy="504000"/>
          </a:xfrm>
        </p:spPr>
        <p:txBody>
          <a:bodyPr/>
          <a:lstStyle>
            <a:lvl1pPr>
              <a:defRPr sz="800"/>
            </a:lvl1pPr>
          </a:lstStyle>
          <a:p>
            <a:r>
              <a:rPr lang="en-US"/>
              <a:t>Click icon to add picture</a:t>
            </a:r>
            <a:endParaRPr lang="en-GB"/>
          </a:p>
        </p:txBody>
      </p:sp>
      <p:sp>
        <p:nvSpPr>
          <p:cNvPr id="10" name="Picture Placeholder 5">
            <a:extLst>
              <a:ext uri="{FF2B5EF4-FFF2-40B4-BE49-F238E27FC236}">
                <a16:creationId xmlns:a16="http://schemas.microsoft.com/office/drawing/2014/main" id="{3E4A84B4-6B0B-20E7-7467-DDAB41C66C31}"/>
              </a:ext>
            </a:extLst>
          </p:cNvPr>
          <p:cNvSpPr>
            <a:spLocks noGrp="1"/>
          </p:cNvSpPr>
          <p:nvPr>
            <p:ph type="pic" sz="quarter" idx="43"/>
          </p:nvPr>
        </p:nvSpPr>
        <p:spPr>
          <a:xfrm>
            <a:off x="5383303" y="4159991"/>
            <a:ext cx="504000" cy="504000"/>
          </a:xfrm>
        </p:spPr>
        <p:txBody>
          <a:bodyPr/>
          <a:lstStyle>
            <a:lvl1pPr>
              <a:defRPr sz="800"/>
            </a:lvl1pPr>
          </a:lstStyle>
          <a:p>
            <a:r>
              <a:rPr lang="en-US"/>
              <a:t>Click icon to add picture</a:t>
            </a:r>
            <a:endParaRPr lang="en-GB"/>
          </a:p>
        </p:txBody>
      </p:sp>
      <p:sp>
        <p:nvSpPr>
          <p:cNvPr id="11" name="Picture Placeholder 5">
            <a:extLst>
              <a:ext uri="{FF2B5EF4-FFF2-40B4-BE49-F238E27FC236}">
                <a16:creationId xmlns:a16="http://schemas.microsoft.com/office/drawing/2014/main" id="{A4C9A676-EA0F-A171-70A7-0F2D566CD817}"/>
              </a:ext>
            </a:extLst>
          </p:cNvPr>
          <p:cNvSpPr>
            <a:spLocks noGrp="1"/>
          </p:cNvSpPr>
          <p:nvPr>
            <p:ph type="pic" sz="quarter" idx="44"/>
          </p:nvPr>
        </p:nvSpPr>
        <p:spPr>
          <a:xfrm>
            <a:off x="7897631" y="4159991"/>
            <a:ext cx="504000" cy="504000"/>
          </a:xfrm>
        </p:spPr>
        <p:txBody>
          <a:bodyPr/>
          <a:lstStyle>
            <a:lvl1pPr>
              <a:defRPr sz="800"/>
            </a:lvl1pPr>
          </a:lstStyle>
          <a:p>
            <a:r>
              <a:rPr lang="en-US"/>
              <a:t>Click icon to add picture</a:t>
            </a:r>
            <a:endParaRPr lang="en-GB"/>
          </a:p>
        </p:txBody>
      </p:sp>
      <p:sp>
        <p:nvSpPr>
          <p:cNvPr id="12" name="Picture Placeholder 5">
            <a:extLst>
              <a:ext uri="{FF2B5EF4-FFF2-40B4-BE49-F238E27FC236}">
                <a16:creationId xmlns:a16="http://schemas.microsoft.com/office/drawing/2014/main" id="{965109F7-7C31-6127-4C3B-D6A476D04EB3}"/>
              </a:ext>
            </a:extLst>
          </p:cNvPr>
          <p:cNvSpPr>
            <a:spLocks noGrp="1"/>
          </p:cNvSpPr>
          <p:nvPr>
            <p:ph type="pic" sz="quarter" idx="55"/>
          </p:nvPr>
        </p:nvSpPr>
        <p:spPr>
          <a:xfrm>
            <a:off x="2928331" y="4159991"/>
            <a:ext cx="504000" cy="504000"/>
          </a:xfrm>
        </p:spPr>
        <p:txBody>
          <a:bodyPr/>
          <a:lstStyle>
            <a:lvl1pPr>
              <a:defRPr sz="800"/>
            </a:lvl1pPr>
          </a:lstStyle>
          <a:p>
            <a:r>
              <a:rPr lang="en-US"/>
              <a:t>Click icon to add picture</a:t>
            </a:r>
            <a:endParaRPr lang="en-GB"/>
          </a:p>
        </p:txBody>
      </p:sp>
      <p:sp>
        <p:nvSpPr>
          <p:cNvPr id="13" name="Footer Placeholder 4">
            <a:extLst>
              <a:ext uri="{FF2B5EF4-FFF2-40B4-BE49-F238E27FC236}">
                <a16:creationId xmlns:a16="http://schemas.microsoft.com/office/drawing/2014/main" id="{B0D3F8FC-957D-8D9C-D30D-CE34BBE87F2F}"/>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26765958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Column + image">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8AAE1BA5-EA96-2CA9-0103-C09C7104CFC0}"/>
              </a:ext>
            </a:extLst>
          </p:cNvPr>
          <p:cNvSpPr>
            <a:spLocks noGrp="1"/>
          </p:cNvSpPr>
          <p:nvPr>
            <p:ph type="pic" sz="quarter" idx="34" hasCustomPrompt="1"/>
          </p:nvPr>
        </p:nvSpPr>
        <p:spPr>
          <a:xfrm>
            <a:off x="0" y="3997960"/>
            <a:ext cx="12192001" cy="2860040"/>
          </a:xfrm>
          <a:custGeom>
            <a:avLst/>
            <a:gdLst>
              <a:gd name="connsiteX0" fmla="*/ 1 w 5806441"/>
              <a:gd name="connsiteY0" fmla="*/ 0 h 6666547"/>
              <a:gd name="connsiteX1" fmla="*/ 5806441 w 5806441"/>
              <a:gd name="connsiteY1" fmla="*/ 0 h 6666547"/>
              <a:gd name="connsiteX2" fmla="*/ 5806441 w 5806441"/>
              <a:gd name="connsiteY2" fmla="*/ 6666547 h 6666547"/>
              <a:gd name="connsiteX3" fmla="*/ 1 w 5806441"/>
              <a:gd name="connsiteY3" fmla="*/ 6666547 h 6666547"/>
              <a:gd name="connsiteX4" fmla="*/ 1 w 5806441"/>
              <a:gd name="connsiteY4" fmla="*/ 4097263 h 6666547"/>
              <a:gd name="connsiteX5" fmla="*/ 0 w 5806441"/>
              <a:gd name="connsiteY5" fmla="*/ 4097263 h 6666547"/>
              <a:gd name="connsiteX6" fmla="*/ 0 w 5806441"/>
              <a:gd name="connsiteY6" fmla="*/ 1672907 h 6666547"/>
              <a:gd name="connsiteX7" fmla="*/ 1 w 5806441"/>
              <a:gd name="connsiteY7" fmla="*/ 1672907 h 66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06441" h="6666547">
                <a:moveTo>
                  <a:pt x="1" y="0"/>
                </a:moveTo>
                <a:lnTo>
                  <a:pt x="5806441" y="0"/>
                </a:lnTo>
                <a:lnTo>
                  <a:pt x="5806441" y="6666547"/>
                </a:lnTo>
                <a:lnTo>
                  <a:pt x="1" y="6666547"/>
                </a:lnTo>
                <a:lnTo>
                  <a:pt x="1" y="4097263"/>
                </a:lnTo>
                <a:lnTo>
                  <a:pt x="0" y="4097263"/>
                </a:lnTo>
                <a:lnTo>
                  <a:pt x="0" y="1672907"/>
                </a:lnTo>
                <a:lnTo>
                  <a:pt x="1" y="1672907"/>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2" name="Title 1">
            <a:extLst>
              <a:ext uri="{FF2B5EF4-FFF2-40B4-BE49-F238E27FC236}">
                <a16:creationId xmlns:a16="http://schemas.microsoft.com/office/drawing/2014/main" id="{89552DE1-1916-C2A7-CFEE-218026B1186B}"/>
              </a:ext>
            </a:extLst>
          </p:cNvPr>
          <p:cNvSpPr>
            <a:spLocks noGrp="1"/>
          </p:cNvSpPr>
          <p:nvPr>
            <p:ph type="title"/>
          </p:nvPr>
        </p:nvSpPr>
        <p:spPr/>
        <p:txBody>
          <a:bodyPr/>
          <a:lstStyle/>
          <a:p>
            <a:r>
              <a:rPr lang="en-US"/>
              <a:t>Click to edit Master title style</a:t>
            </a:r>
            <a:endParaRPr lang="en-AU"/>
          </a:p>
        </p:txBody>
      </p:sp>
      <p:sp>
        <p:nvSpPr>
          <p:cNvPr id="6" name="Text Placeholder 5">
            <a:extLst>
              <a:ext uri="{FF2B5EF4-FFF2-40B4-BE49-F238E27FC236}">
                <a16:creationId xmlns:a16="http://schemas.microsoft.com/office/drawing/2014/main" id="{8253C086-39CE-916D-A665-76566F3CAF57}"/>
              </a:ext>
            </a:extLst>
          </p:cNvPr>
          <p:cNvSpPr>
            <a:spLocks noGrp="1"/>
          </p:cNvSpPr>
          <p:nvPr>
            <p:ph type="body" sz="quarter" idx="45"/>
          </p:nvPr>
        </p:nvSpPr>
        <p:spPr>
          <a:xfrm>
            <a:off x="479425" y="2117408"/>
            <a:ext cx="3312000" cy="1658938"/>
          </a:xfrm>
          <a:solidFill>
            <a:schemeClr val="bg1"/>
          </a:solidFill>
          <a:effectLst>
            <a:outerShdw dist="38100" dir="16200000" rotWithShape="0">
              <a:prstClr val="black"/>
            </a:outerShdw>
          </a:effectLst>
        </p:spPr>
        <p:txBody>
          <a:bodyPr tIns="108000"/>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8" name="Freeform: Shape 37">
            <a:extLst>
              <a:ext uri="{FF2B5EF4-FFF2-40B4-BE49-F238E27FC236}">
                <a16:creationId xmlns:a16="http://schemas.microsoft.com/office/drawing/2014/main" id="{715CE2AD-6A0D-3A91-6D27-336BC601CA6F}"/>
              </a:ext>
            </a:extLst>
          </p:cNvPr>
          <p:cNvSpPr txBox="1">
            <a:spLocks/>
          </p:cNvSpPr>
          <p:nvPr/>
        </p:nvSpPr>
        <p:spPr>
          <a:xfrm>
            <a:off x="12192000" y="1736725"/>
            <a:ext cx="1625" cy="1223"/>
          </a:xfrm>
          <a:custGeom>
            <a:avLst/>
            <a:gdLst>
              <a:gd name="connsiteX0" fmla="*/ 1625 w 1625"/>
              <a:gd name="connsiteY0" fmla="*/ 0 h 1223"/>
              <a:gd name="connsiteX1" fmla="*/ 0 w 1625"/>
              <a:gd name="connsiteY1" fmla="*/ 1223 h 1223"/>
              <a:gd name="connsiteX2" fmla="*/ 0 w 1625"/>
              <a:gd name="connsiteY2" fmla="*/ 85 h 1223"/>
              <a:gd name="connsiteX3" fmla="*/ 1625 w 1625"/>
              <a:gd name="connsiteY3" fmla="*/ 0 h 1223"/>
            </a:gdLst>
            <a:ahLst/>
            <a:cxnLst>
              <a:cxn ang="0">
                <a:pos x="connsiteX0" y="connsiteY0"/>
              </a:cxn>
              <a:cxn ang="0">
                <a:pos x="connsiteX1" y="connsiteY1"/>
              </a:cxn>
              <a:cxn ang="0">
                <a:pos x="connsiteX2" y="connsiteY2"/>
              </a:cxn>
              <a:cxn ang="0">
                <a:pos x="connsiteX3" y="connsiteY3"/>
              </a:cxn>
            </a:cxnLst>
            <a:rect l="l" t="t" r="r" b="b"/>
            <a:pathLst>
              <a:path w="1625" h="1223">
                <a:moveTo>
                  <a:pt x="1625" y="0"/>
                </a:moveTo>
                <a:lnTo>
                  <a:pt x="0" y="1223"/>
                </a:lnTo>
                <a:lnTo>
                  <a:pt x="0" y="85"/>
                </a:lnTo>
                <a:lnTo>
                  <a:pt x="1625" y="0"/>
                </a:lnTo>
                <a:close/>
              </a:path>
            </a:pathLst>
          </a:custGeom>
          <a:solidFill>
            <a:schemeClr val="accent1"/>
          </a:solidFill>
        </p:spPr>
        <p:txBody>
          <a:bodyPr vert="horz" wrap="square"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7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400" kern="1200">
                <a:solidFill>
                  <a:schemeClr val="tx1"/>
                </a:solidFill>
                <a:latin typeface="+mn-lt"/>
                <a:ea typeface="+mn-ea"/>
                <a:cs typeface="+mn-cs"/>
              </a:defRPr>
            </a:lvl2pPr>
            <a:lvl3pPr marL="180975" indent="-180975" algn="l" defTabSz="914400" rtl="0" eaLnBrk="1" latinLnBrk="0" hangingPunct="1">
              <a:lnSpc>
                <a:spcPct val="100000"/>
              </a:lnSpc>
              <a:spcBef>
                <a:spcPts val="300"/>
              </a:spcBef>
              <a:spcAft>
                <a:spcPts val="300"/>
              </a:spcAft>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300"/>
              </a:spcBef>
              <a:spcAft>
                <a:spcPts val="300"/>
              </a:spcAft>
              <a:buFontTx/>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AU"/>
          </a:p>
        </p:txBody>
      </p:sp>
      <p:sp>
        <p:nvSpPr>
          <p:cNvPr id="37" name="Freeform: Shape 36">
            <a:extLst>
              <a:ext uri="{FF2B5EF4-FFF2-40B4-BE49-F238E27FC236}">
                <a16:creationId xmlns:a16="http://schemas.microsoft.com/office/drawing/2014/main" id="{C2C32356-74BA-EC3A-3544-22F61ACA2816}"/>
              </a:ext>
            </a:extLst>
          </p:cNvPr>
          <p:cNvSpPr txBox="1">
            <a:spLocks/>
          </p:cNvSpPr>
          <p:nvPr/>
        </p:nvSpPr>
        <p:spPr>
          <a:xfrm>
            <a:off x="12191197" y="1737948"/>
            <a:ext cx="803" cy="605"/>
          </a:xfrm>
          <a:custGeom>
            <a:avLst/>
            <a:gdLst>
              <a:gd name="connsiteX0" fmla="*/ 803 w 803"/>
              <a:gd name="connsiteY0" fmla="*/ 0 h 605"/>
              <a:gd name="connsiteX1" fmla="*/ 803 w 803"/>
              <a:gd name="connsiteY1" fmla="*/ 605 h 605"/>
              <a:gd name="connsiteX2" fmla="*/ 0 w 803"/>
              <a:gd name="connsiteY2" fmla="*/ 605 h 605"/>
              <a:gd name="connsiteX3" fmla="*/ 803 w 803"/>
              <a:gd name="connsiteY3" fmla="*/ 0 h 605"/>
            </a:gdLst>
            <a:ahLst/>
            <a:cxnLst>
              <a:cxn ang="0">
                <a:pos x="connsiteX0" y="connsiteY0"/>
              </a:cxn>
              <a:cxn ang="0">
                <a:pos x="connsiteX1" y="connsiteY1"/>
              </a:cxn>
              <a:cxn ang="0">
                <a:pos x="connsiteX2" y="connsiteY2"/>
              </a:cxn>
              <a:cxn ang="0">
                <a:pos x="connsiteX3" y="connsiteY3"/>
              </a:cxn>
            </a:cxnLst>
            <a:rect l="l" t="t" r="r" b="b"/>
            <a:pathLst>
              <a:path w="803" h="605">
                <a:moveTo>
                  <a:pt x="803" y="0"/>
                </a:moveTo>
                <a:lnTo>
                  <a:pt x="803" y="605"/>
                </a:lnTo>
                <a:lnTo>
                  <a:pt x="0" y="605"/>
                </a:lnTo>
                <a:lnTo>
                  <a:pt x="803" y="0"/>
                </a:lnTo>
                <a:close/>
              </a:path>
            </a:pathLst>
          </a:custGeom>
          <a:solidFill>
            <a:schemeClr val="accent1"/>
          </a:solidFill>
        </p:spPr>
        <p:txBody>
          <a:bodyPr vert="horz" wrap="square"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7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400" kern="1200">
                <a:solidFill>
                  <a:schemeClr val="tx1"/>
                </a:solidFill>
                <a:latin typeface="+mn-lt"/>
                <a:ea typeface="+mn-ea"/>
                <a:cs typeface="+mn-cs"/>
              </a:defRPr>
            </a:lvl2pPr>
            <a:lvl3pPr marL="180975" indent="-180975" algn="l" defTabSz="914400" rtl="0" eaLnBrk="1" latinLnBrk="0" hangingPunct="1">
              <a:lnSpc>
                <a:spcPct val="100000"/>
              </a:lnSpc>
              <a:spcBef>
                <a:spcPts val="300"/>
              </a:spcBef>
              <a:spcAft>
                <a:spcPts val="300"/>
              </a:spcAft>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300"/>
              </a:spcBef>
              <a:spcAft>
                <a:spcPts val="300"/>
              </a:spcAft>
              <a:buFontTx/>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AU"/>
          </a:p>
        </p:txBody>
      </p:sp>
      <p:sp>
        <p:nvSpPr>
          <p:cNvPr id="5" name="Slide Number Placeholder 4">
            <a:extLst>
              <a:ext uri="{FF2B5EF4-FFF2-40B4-BE49-F238E27FC236}">
                <a16:creationId xmlns:a16="http://schemas.microsoft.com/office/drawing/2014/main" id="{63CE5F13-5902-5B22-8E1F-7EE207133FF7}"/>
              </a:ext>
            </a:extLst>
          </p:cNvPr>
          <p:cNvSpPr>
            <a:spLocks noGrp="1"/>
          </p:cNvSpPr>
          <p:nvPr>
            <p:ph type="sldNum" sz="quarter" idx="53"/>
          </p:nvPr>
        </p:nvSpPr>
        <p:spPr/>
        <p:txBody>
          <a:bodyPr/>
          <a:lstStyle>
            <a:lvl1pPr>
              <a:defRPr>
                <a:solidFill>
                  <a:schemeClr val="bg1"/>
                </a:solidFill>
              </a:defRPr>
            </a:lvl1pPr>
          </a:lstStyle>
          <a:p>
            <a:fld id="{E4C2AD82-1025-4508-97C1-6F7EE5C92734}" type="slidenum">
              <a:rPr lang="en-AU" smtClean="0"/>
              <a:pPr/>
              <a:t>‹#›</a:t>
            </a:fld>
            <a:endParaRPr lang="en-AU"/>
          </a:p>
        </p:txBody>
      </p:sp>
      <p:sp>
        <p:nvSpPr>
          <p:cNvPr id="9" name="Text Placeholder 5">
            <a:extLst>
              <a:ext uri="{FF2B5EF4-FFF2-40B4-BE49-F238E27FC236}">
                <a16:creationId xmlns:a16="http://schemas.microsoft.com/office/drawing/2014/main" id="{5EB385AE-211C-C46B-21D0-952F377A1188}"/>
              </a:ext>
            </a:extLst>
          </p:cNvPr>
          <p:cNvSpPr>
            <a:spLocks noGrp="1" noChangeAspect="1"/>
          </p:cNvSpPr>
          <p:nvPr>
            <p:ph type="body" sz="quarter" idx="36"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7" name="Text Placeholder 5">
            <a:extLst>
              <a:ext uri="{FF2B5EF4-FFF2-40B4-BE49-F238E27FC236}">
                <a16:creationId xmlns:a16="http://schemas.microsoft.com/office/drawing/2014/main" id="{C4F51C13-26F0-F48C-4097-AA4CF6B9B2CF}"/>
              </a:ext>
            </a:extLst>
          </p:cNvPr>
          <p:cNvSpPr>
            <a:spLocks noGrp="1"/>
          </p:cNvSpPr>
          <p:nvPr>
            <p:ph type="body" sz="quarter" idx="54"/>
          </p:nvPr>
        </p:nvSpPr>
        <p:spPr>
          <a:xfrm>
            <a:off x="4439841" y="2117408"/>
            <a:ext cx="3312000" cy="1658938"/>
          </a:xfrm>
          <a:solidFill>
            <a:schemeClr val="bg1"/>
          </a:solidFill>
          <a:effectLst>
            <a:outerShdw dist="38100" dir="16200000" rotWithShape="0">
              <a:prstClr val="black"/>
            </a:outerShdw>
          </a:effectLst>
        </p:spPr>
        <p:txBody>
          <a:bodyPr tIns="108000"/>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5">
            <a:extLst>
              <a:ext uri="{FF2B5EF4-FFF2-40B4-BE49-F238E27FC236}">
                <a16:creationId xmlns:a16="http://schemas.microsoft.com/office/drawing/2014/main" id="{059BEB8A-B66E-DA83-2D61-33F151BD5711}"/>
              </a:ext>
            </a:extLst>
          </p:cNvPr>
          <p:cNvSpPr>
            <a:spLocks noGrp="1"/>
          </p:cNvSpPr>
          <p:nvPr>
            <p:ph type="body" sz="quarter" idx="56"/>
          </p:nvPr>
        </p:nvSpPr>
        <p:spPr>
          <a:xfrm>
            <a:off x="8400256" y="2117408"/>
            <a:ext cx="3312000" cy="1658938"/>
          </a:xfrm>
          <a:solidFill>
            <a:schemeClr val="bg1"/>
          </a:solidFill>
          <a:effectLst>
            <a:outerShdw dist="38100" dir="16200000" rotWithShape="0">
              <a:prstClr val="black"/>
            </a:outerShdw>
          </a:effectLst>
        </p:spPr>
        <p:txBody>
          <a:bodyPr tIns="108000"/>
          <a:lstStyle>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4">
            <a:extLst>
              <a:ext uri="{FF2B5EF4-FFF2-40B4-BE49-F238E27FC236}">
                <a16:creationId xmlns:a16="http://schemas.microsoft.com/office/drawing/2014/main" id="{C391192F-0C63-3B0C-92BF-3FB97FCD304B}"/>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solidFill>
                  <a:schemeClr val="bg1"/>
                </a:solidFill>
              </a:defRPr>
            </a:lvl1pPr>
          </a:lstStyle>
          <a:p>
            <a:r>
              <a:rPr lang="en-US"/>
              <a:t>|    Presentation footer</a:t>
            </a:r>
            <a:endParaRPr lang="en-AU"/>
          </a:p>
        </p:txBody>
      </p:sp>
    </p:spTree>
    <p:extLst>
      <p:ext uri="{BB962C8B-B14F-4D97-AF65-F5344CB8AC3E}">
        <p14:creationId xmlns:p14="http://schemas.microsoft.com/office/powerpoint/2010/main" val="33444859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am pag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A1EB3-6CC1-5280-453B-1234822BE5AD}"/>
              </a:ext>
            </a:extLst>
          </p:cNvPr>
          <p:cNvSpPr>
            <a:spLocks noGrp="1"/>
          </p:cNvSpPr>
          <p:nvPr>
            <p:ph type="title"/>
          </p:nvPr>
        </p:nvSpPr>
        <p:spPr/>
        <p:txBody>
          <a:bodyPr/>
          <a:lstStyle/>
          <a:p>
            <a:r>
              <a:rPr lang="en-US"/>
              <a:t>Click to edit Master title style</a:t>
            </a:r>
            <a:endParaRPr lang="en-AU"/>
          </a:p>
        </p:txBody>
      </p:sp>
      <p:sp>
        <p:nvSpPr>
          <p:cNvPr id="10" name="Picture Placeholder 9">
            <a:extLst>
              <a:ext uri="{FF2B5EF4-FFF2-40B4-BE49-F238E27FC236}">
                <a16:creationId xmlns:a16="http://schemas.microsoft.com/office/drawing/2014/main" id="{AA4CF962-EF4B-7935-DBC7-D5BF55036010}"/>
              </a:ext>
            </a:extLst>
          </p:cNvPr>
          <p:cNvSpPr>
            <a:spLocks noGrp="1"/>
          </p:cNvSpPr>
          <p:nvPr>
            <p:ph type="pic" sz="quarter" idx="43"/>
          </p:nvPr>
        </p:nvSpPr>
        <p:spPr>
          <a:xfrm>
            <a:off x="479425" y="1812608"/>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11" name="Picture Placeholder 10">
            <a:extLst>
              <a:ext uri="{FF2B5EF4-FFF2-40B4-BE49-F238E27FC236}">
                <a16:creationId xmlns:a16="http://schemas.microsoft.com/office/drawing/2014/main" id="{068C090C-06EA-B09D-C552-B2DCDCF6A11F}"/>
              </a:ext>
            </a:extLst>
          </p:cNvPr>
          <p:cNvSpPr>
            <a:spLocks noGrp="1"/>
          </p:cNvSpPr>
          <p:nvPr>
            <p:ph type="pic" sz="quarter" idx="44"/>
          </p:nvPr>
        </p:nvSpPr>
        <p:spPr>
          <a:xfrm>
            <a:off x="4394795" y="1812608"/>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12" name="Picture Placeholder 11">
            <a:extLst>
              <a:ext uri="{FF2B5EF4-FFF2-40B4-BE49-F238E27FC236}">
                <a16:creationId xmlns:a16="http://schemas.microsoft.com/office/drawing/2014/main" id="{C4D78195-4C67-76F1-A75E-D0F87A64BF31}"/>
              </a:ext>
            </a:extLst>
          </p:cNvPr>
          <p:cNvSpPr>
            <a:spLocks noGrp="1"/>
          </p:cNvSpPr>
          <p:nvPr>
            <p:ph type="pic" sz="quarter" idx="45"/>
          </p:nvPr>
        </p:nvSpPr>
        <p:spPr>
          <a:xfrm>
            <a:off x="8279700" y="1812608"/>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3" name="Slide Number Placeholder 2">
            <a:extLst>
              <a:ext uri="{FF2B5EF4-FFF2-40B4-BE49-F238E27FC236}">
                <a16:creationId xmlns:a16="http://schemas.microsoft.com/office/drawing/2014/main" id="{4978B75F-8596-C551-9150-335E50FD9FF6}"/>
              </a:ext>
            </a:extLst>
          </p:cNvPr>
          <p:cNvSpPr>
            <a:spLocks noGrp="1"/>
          </p:cNvSpPr>
          <p:nvPr>
            <p:ph type="sldNum" sz="quarter" idx="46"/>
          </p:nvPr>
        </p:nvSpPr>
        <p:spPr/>
        <p:txBody>
          <a:bodyPr/>
          <a:lstStyle/>
          <a:p>
            <a:fld id="{E4C2AD82-1025-4508-97C1-6F7EE5C92734}" type="slidenum">
              <a:rPr lang="en-AU" smtClean="0"/>
              <a:pPr/>
              <a:t>‹#›</a:t>
            </a:fld>
            <a:endParaRPr lang="en-AU"/>
          </a:p>
        </p:txBody>
      </p:sp>
      <p:sp>
        <p:nvSpPr>
          <p:cNvPr id="13" name="Text Placeholder 7">
            <a:extLst>
              <a:ext uri="{FF2B5EF4-FFF2-40B4-BE49-F238E27FC236}">
                <a16:creationId xmlns:a16="http://schemas.microsoft.com/office/drawing/2014/main" id="{EC3546C6-FF97-A9DD-45B0-E21F7C99A104}"/>
              </a:ext>
            </a:extLst>
          </p:cNvPr>
          <p:cNvSpPr>
            <a:spLocks noGrp="1"/>
          </p:cNvSpPr>
          <p:nvPr>
            <p:ph type="body" sz="quarter" idx="49" hasCustomPrompt="1"/>
          </p:nvPr>
        </p:nvSpPr>
        <p:spPr>
          <a:xfrm>
            <a:off x="1928813" y="2781935"/>
            <a:ext cx="187642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5" name="Text Placeholder 7">
            <a:extLst>
              <a:ext uri="{FF2B5EF4-FFF2-40B4-BE49-F238E27FC236}">
                <a16:creationId xmlns:a16="http://schemas.microsoft.com/office/drawing/2014/main" id="{0E4AEDDC-73BD-3E43-6648-CE97BD51E8B5}"/>
              </a:ext>
            </a:extLst>
          </p:cNvPr>
          <p:cNvSpPr>
            <a:spLocks noGrp="1"/>
          </p:cNvSpPr>
          <p:nvPr>
            <p:ph type="body" sz="quarter" idx="50" hasCustomPrompt="1"/>
          </p:nvPr>
        </p:nvSpPr>
        <p:spPr>
          <a:xfrm>
            <a:off x="5890285" y="2781935"/>
            <a:ext cx="187642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6" name="Text Placeholder 7">
            <a:extLst>
              <a:ext uri="{FF2B5EF4-FFF2-40B4-BE49-F238E27FC236}">
                <a16:creationId xmlns:a16="http://schemas.microsoft.com/office/drawing/2014/main" id="{F3977470-8E46-61D8-B78B-4956491B32F6}"/>
              </a:ext>
            </a:extLst>
          </p:cNvPr>
          <p:cNvSpPr>
            <a:spLocks noGrp="1"/>
          </p:cNvSpPr>
          <p:nvPr>
            <p:ph type="body" sz="quarter" idx="51" hasCustomPrompt="1"/>
          </p:nvPr>
        </p:nvSpPr>
        <p:spPr>
          <a:xfrm>
            <a:off x="9836150" y="2781935"/>
            <a:ext cx="187642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14" name="Content Placeholder 13">
            <a:extLst>
              <a:ext uri="{FF2B5EF4-FFF2-40B4-BE49-F238E27FC236}">
                <a16:creationId xmlns:a16="http://schemas.microsoft.com/office/drawing/2014/main" id="{D15C3E74-8C81-0244-8C2A-5AF745517554}"/>
              </a:ext>
            </a:extLst>
          </p:cNvPr>
          <p:cNvSpPr>
            <a:spLocks noGrp="1"/>
          </p:cNvSpPr>
          <p:nvPr>
            <p:ph sz="quarter" idx="52"/>
          </p:nvPr>
        </p:nvSpPr>
        <p:spPr>
          <a:xfrm>
            <a:off x="479883" y="3530278"/>
            <a:ext cx="2921000" cy="2362522"/>
          </a:xfrm>
          <a:custGeom>
            <a:avLst/>
            <a:gdLst>
              <a:gd name="connsiteX0" fmla="*/ 0 w 2921000"/>
              <a:gd name="connsiteY0" fmla="*/ 0 h 2362522"/>
              <a:gd name="connsiteX1" fmla="*/ 2921000 w 2921000"/>
              <a:gd name="connsiteY1" fmla="*/ 0 h 2362522"/>
              <a:gd name="connsiteX2" fmla="*/ 2921000 w 2921000"/>
              <a:gd name="connsiteY2" fmla="*/ 2362522 h 2362522"/>
              <a:gd name="connsiteX3" fmla="*/ 0 w 2921000"/>
              <a:gd name="connsiteY3" fmla="*/ 2362522 h 2362522"/>
            </a:gdLst>
            <a:ahLst/>
            <a:cxnLst>
              <a:cxn ang="0">
                <a:pos x="connsiteX0" y="connsiteY0"/>
              </a:cxn>
              <a:cxn ang="0">
                <a:pos x="connsiteX1" y="connsiteY1"/>
              </a:cxn>
              <a:cxn ang="0">
                <a:pos x="connsiteX2" y="connsiteY2"/>
              </a:cxn>
              <a:cxn ang="0">
                <a:pos x="connsiteX3" y="connsiteY3"/>
              </a:cxn>
            </a:cxnLst>
            <a:rect l="l" t="t" r="r" b="b"/>
            <a:pathLst>
              <a:path w="2921000" h="2362522">
                <a:moveTo>
                  <a:pt x="0" y="0"/>
                </a:moveTo>
                <a:lnTo>
                  <a:pt x="2921000" y="0"/>
                </a:lnTo>
                <a:lnTo>
                  <a:pt x="2921000" y="2362522"/>
                </a:lnTo>
                <a:lnTo>
                  <a:pt x="0" y="2362522"/>
                </a:lnTo>
                <a:close/>
              </a:path>
            </a:pathLst>
          </a:custGeom>
          <a:solidFill>
            <a:schemeClr val="bg1"/>
          </a:solidFill>
          <a:effectLst>
            <a:outerShdw dist="38100" dir="5400000" algn="t" rotWithShape="0">
              <a:prstClr val="black"/>
            </a:outerShdw>
          </a:effectLst>
        </p:spPr>
        <p:txBody>
          <a:bodyPr wrap="square">
            <a:noAutofit/>
          </a:bodyPr>
          <a:lstStyle>
            <a:lvl1pPr>
              <a:defRPr sz="1200"/>
            </a:lvl1pPr>
            <a:lvl2pPr marL="180000" indent="-180000">
              <a:spcAft>
                <a:spcPts val="600"/>
              </a:spcAft>
              <a:buFont typeface="Arial" panose="020B0604020202020204" pitchFamily="34" charset="0"/>
              <a:buChar char="•"/>
              <a:defRPr sz="1200"/>
            </a:lvl2pPr>
            <a:lvl3pPr marL="360363" indent="-180000">
              <a:spcAft>
                <a:spcPts val="600"/>
              </a:spcAft>
              <a:buFont typeface="Arial" panose="020B0604020202020204" pitchFamily="34" charset="0"/>
              <a:buChar char="•"/>
              <a:defRPr sz="1200"/>
            </a:lvl3pPr>
            <a:lvl4pPr>
              <a:spcAft>
                <a:spcPts val="600"/>
              </a:spcAft>
              <a:defRPr sz="1100"/>
            </a:lvl4pPr>
            <a:lvl5pPr>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Content Placeholder 15">
            <a:extLst>
              <a:ext uri="{FF2B5EF4-FFF2-40B4-BE49-F238E27FC236}">
                <a16:creationId xmlns:a16="http://schemas.microsoft.com/office/drawing/2014/main" id="{6480613F-29FB-48CF-07F1-780352E17ABC}"/>
              </a:ext>
            </a:extLst>
          </p:cNvPr>
          <p:cNvSpPr>
            <a:spLocks noGrp="1"/>
          </p:cNvSpPr>
          <p:nvPr>
            <p:ph sz="quarter" idx="53"/>
          </p:nvPr>
        </p:nvSpPr>
        <p:spPr>
          <a:xfrm>
            <a:off x="4438205" y="3530278"/>
            <a:ext cx="2921000" cy="2362522"/>
          </a:xfrm>
          <a:custGeom>
            <a:avLst/>
            <a:gdLst>
              <a:gd name="connsiteX0" fmla="*/ 0 w 2921000"/>
              <a:gd name="connsiteY0" fmla="*/ 0 h 2362522"/>
              <a:gd name="connsiteX1" fmla="*/ 2921000 w 2921000"/>
              <a:gd name="connsiteY1" fmla="*/ 0 h 2362522"/>
              <a:gd name="connsiteX2" fmla="*/ 2921000 w 2921000"/>
              <a:gd name="connsiteY2" fmla="*/ 2362522 h 2362522"/>
              <a:gd name="connsiteX3" fmla="*/ 2175778 w 2921000"/>
              <a:gd name="connsiteY3" fmla="*/ 2362522 h 2362522"/>
              <a:gd name="connsiteX4" fmla="*/ 244412 w 2921000"/>
              <a:gd name="connsiteY4" fmla="*/ 2362522 h 2362522"/>
              <a:gd name="connsiteX5" fmla="*/ 0 w 2921000"/>
              <a:gd name="connsiteY5" fmla="*/ 2362522 h 236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1000" h="2362522">
                <a:moveTo>
                  <a:pt x="0" y="0"/>
                </a:moveTo>
                <a:lnTo>
                  <a:pt x="2921000" y="0"/>
                </a:lnTo>
                <a:lnTo>
                  <a:pt x="2921000" y="2362522"/>
                </a:lnTo>
                <a:lnTo>
                  <a:pt x="2175778" y="2362522"/>
                </a:lnTo>
                <a:lnTo>
                  <a:pt x="244412" y="2362522"/>
                </a:lnTo>
                <a:lnTo>
                  <a:pt x="0" y="2362522"/>
                </a:lnTo>
                <a:close/>
              </a:path>
            </a:pathLst>
          </a:custGeom>
          <a:solidFill>
            <a:schemeClr val="bg1"/>
          </a:solidFill>
          <a:effectLst>
            <a:outerShdw dist="38100" dir="5400000" algn="t" rotWithShape="0">
              <a:prstClr val="black"/>
            </a:outerShdw>
          </a:effectLst>
        </p:spPr>
        <p:txBody>
          <a:bodyPr wrap="square">
            <a:noAutofit/>
          </a:bodyPr>
          <a:lstStyle>
            <a:lvl1pPr>
              <a:defRPr sz="1200"/>
            </a:lvl1pPr>
            <a:lvl2pPr marL="180000" indent="-180000">
              <a:spcAft>
                <a:spcPts val="600"/>
              </a:spcAft>
              <a:buFont typeface="Arial" panose="020B0604020202020204" pitchFamily="34" charset="0"/>
              <a:buChar char="•"/>
              <a:defRPr sz="1200"/>
            </a:lvl2pPr>
            <a:lvl3pPr marL="360363" indent="-180000">
              <a:spcAft>
                <a:spcPts val="600"/>
              </a:spcAft>
              <a:buFont typeface="Arial" panose="020B0604020202020204" pitchFamily="34" charset="0"/>
              <a:buChar char="•"/>
              <a:defRPr sz="1200"/>
            </a:lvl3pPr>
            <a:lvl4pPr>
              <a:spcAft>
                <a:spcPts val="600"/>
              </a:spcAft>
              <a:defRPr sz="1100"/>
            </a:lvl4pPr>
            <a:lvl5pPr>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Content Placeholder 17">
            <a:extLst>
              <a:ext uri="{FF2B5EF4-FFF2-40B4-BE49-F238E27FC236}">
                <a16:creationId xmlns:a16="http://schemas.microsoft.com/office/drawing/2014/main" id="{4BC81D9F-ABB5-F3D5-F5E6-26FE542CD11D}"/>
              </a:ext>
            </a:extLst>
          </p:cNvPr>
          <p:cNvSpPr>
            <a:spLocks noGrp="1"/>
          </p:cNvSpPr>
          <p:nvPr>
            <p:ph sz="quarter" idx="54"/>
          </p:nvPr>
        </p:nvSpPr>
        <p:spPr>
          <a:xfrm>
            <a:off x="8384070" y="3530278"/>
            <a:ext cx="2921000" cy="2362522"/>
          </a:xfrm>
          <a:custGeom>
            <a:avLst/>
            <a:gdLst>
              <a:gd name="connsiteX0" fmla="*/ 0 w 2921000"/>
              <a:gd name="connsiteY0" fmla="*/ 0 h 2362522"/>
              <a:gd name="connsiteX1" fmla="*/ 2921000 w 2921000"/>
              <a:gd name="connsiteY1" fmla="*/ 0 h 2362522"/>
              <a:gd name="connsiteX2" fmla="*/ 2921000 w 2921000"/>
              <a:gd name="connsiteY2" fmla="*/ 2362522 h 2362522"/>
              <a:gd name="connsiteX3" fmla="*/ 2810535 w 2921000"/>
              <a:gd name="connsiteY3" fmla="*/ 2362522 h 2362522"/>
              <a:gd name="connsiteX4" fmla="*/ 2165565 w 2921000"/>
              <a:gd name="connsiteY4" fmla="*/ 2362522 h 2362522"/>
              <a:gd name="connsiteX5" fmla="*/ 494019 w 2921000"/>
              <a:gd name="connsiteY5" fmla="*/ 2362522 h 2362522"/>
              <a:gd name="connsiteX6" fmla="*/ 282487 w 2921000"/>
              <a:gd name="connsiteY6" fmla="*/ 2362522 h 2362522"/>
              <a:gd name="connsiteX7" fmla="*/ 0 w 2921000"/>
              <a:gd name="connsiteY7" fmla="*/ 2362522 h 236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000" h="2362522">
                <a:moveTo>
                  <a:pt x="0" y="0"/>
                </a:moveTo>
                <a:lnTo>
                  <a:pt x="2921000" y="0"/>
                </a:lnTo>
                <a:lnTo>
                  <a:pt x="2921000" y="2362522"/>
                </a:lnTo>
                <a:lnTo>
                  <a:pt x="2810535" y="2362522"/>
                </a:lnTo>
                <a:lnTo>
                  <a:pt x="2165565" y="2362522"/>
                </a:lnTo>
                <a:lnTo>
                  <a:pt x="494019" y="2362522"/>
                </a:lnTo>
                <a:lnTo>
                  <a:pt x="282487" y="2362522"/>
                </a:lnTo>
                <a:lnTo>
                  <a:pt x="0" y="2362522"/>
                </a:lnTo>
                <a:close/>
              </a:path>
            </a:pathLst>
          </a:custGeom>
          <a:solidFill>
            <a:schemeClr val="bg1"/>
          </a:solidFill>
          <a:effectLst>
            <a:outerShdw dist="38100" dir="5400000" algn="t" rotWithShape="0">
              <a:prstClr val="black"/>
            </a:outerShdw>
          </a:effectLst>
        </p:spPr>
        <p:txBody>
          <a:bodyPr wrap="square">
            <a:noAutofit/>
          </a:bodyPr>
          <a:lstStyle>
            <a:lvl1pPr>
              <a:defRPr sz="1200"/>
            </a:lvl1pPr>
            <a:lvl2pPr marL="180000" indent="-180000">
              <a:spcAft>
                <a:spcPts val="600"/>
              </a:spcAft>
              <a:buFont typeface="Arial" panose="020B0604020202020204" pitchFamily="34" charset="0"/>
              <a:buChar char="•"/>
              <a:defRPr sz="1200"/>
            </a:lvl2pPr>
            <a:lvl3pPr marL="360363" indent="-180000">
              <a:spcAft>
                <a:spcPts val="600"/>
              </a:spcAft>
              <a:buFont typeface="Arial" panose="020B0604020202020204" pitchFamily="34" charset="0"/>
              <a:buChar char="•"/>
              <a:defRPr sz="1200"/>
            </a:lvl3pPr>
            <a:lvl4pPr>
              <a:spcAft>
                <a:spcPts val="600"/>
              </a:spcAft>
              <a:defRPr sz="1100"/>
            </a:lvl4pPr>
            <a:lvl5pPr>
              <a:spcAft>
                <a:spcPts val="600"/>
              </a:spcAft>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4">
            <a:extLst>
              <a:ext uri="{FF2B5EF4-FFF2-40B4-BE49-F238E27FC236}">
                <a16:creationId xmlns:a16="http://schemas.microsoft.com/office/drawing/2014/main" id="{F45D439A-08C9-D742-4047-31170CE30D80}"/>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3519060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am pag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A1EB3-6CC1-5280-453B-1234822BE5AD}"/>
              </a:ext>
            </a:extLst>
          </p:cNvPr>
          <p:cNvSpPr>
            <a:spLocks noGrp="1"/>
          </p:cNvSpPr>
          <p:nvPr>
            <p:ph type="title"/>
          </p:nvPr>
        </p:nvSpPr>
        <p:spPr/>
        <p:txBody>
          <a:bodyPr/>
          <a:lstStyle/>
          <a:p>
            <a:r>
              <a:rPr lang="en-US"/>
              <a:t>Click to edit Master title style</a:t>
            </a:r>
            <a:endParaRPr lang="en-AU"/>
          </a:p>
        </p:txBody>
      </p:sp>
      <p:sp>
        <p:nvSpPr>
          <p:cNvPr id="31" name="Content Placeholder 26">
            <a:extLst>
              <a:ext uri="{FF2B5EF4-FFF2-40B4-BE49-F238E27FC236}">
                <a16:creationId xmlns:a16="http://schemas.microsoft.com/office/drawing/2014/main" id="{9FE55E33-D0F9-447B-A0B9-EA5EB5B6A595}"/>
              </a:ext>
            </a:extLst>
          </p:cNvPr>
          <p:cNvSpPr>
            <a:spLocks noGrp="1"/>
          </p:cNvSpPr>
          <p:nvPr>
            <p:ph sz="quarter" idx="41"/>
          </p:nvPr>
        </p:nvSpPr>
        <p:spPr>
          <a:xfrm>
            <a:off x="479425" y="3709036"/>
            <a:ext cx="2443480" cy="21837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defRPr lang="en-US" sz="1200" dirty="0">
                <a:latin typeface="+mn-lt"/>
              </a:defRPr>
            </a:lvl1pPr>
            <a:lvl2pPr marL="180000" indent="-180000">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35" name="Content Placeholder 26">
            <a:extLst>
              <a:ext uri="{FF2B5EF4-FFF2-40B4-BE49-F238E27FC236}">
                <a16:creationId xmlns:a16="http://schemas.microsoft.com/office/drawing/2014/main" id="{AEDB55C6-0C27-5373-A1EA-BFAE02DBDE6E}"/>
              </a:ext>
            </a:extLst>
          </p:cNvPr>
          <p:cNvSpPr>
            <a:spLocks noGrp="1"/>
          </p:cNvSpPr>
          <p:nvPr>
            <p:ph sz="quarter" idx="45"/>
          </p:nvPr>
        </p:nvSpPr>
        <p:spPr>
          <a:xfrm>
            <a:off x="3409315" y="3709036"/>
            <a:ext cx="2443480" cy="21837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defRPr lang="en-US" sz="1200" dirty="0">
                <a:latin typeface="+mn-lt"/>
              </a:defRPr>
            </a:lvl1pPr>
            <a:lvl2pPr marL="180000" indent="-180000">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39" name="Content Placeholder 26">
            <a:extLst>
              <a:ext uri="{FF2B5EF4-FFF2-40B4-BE49-F238E27FC236}">
                <a16:creationId xmlns:a16="http://schemas.microsoft.com/office/drawing/2014/main" id="{810FD8A3-ADD2-3B8D-535F-866EADCD3394}"/>
              </a:ext>
            </a:extLst>
          </p:cNvPr>
          <p:cNvSpPr>
            <a:spLocks noGrp="1"/>
          </p:cNvSpPr>
          <p:nvPr>
            <p:ph sz="quarter" idx="49"/>
          </p:nvPr>
        </p:nvSpPr>
        <p:spPr>
          <a:xfrm>
            <a:off x="6339205" y="3709036"/>
            <a:ext cx="2443480" cy="21837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defRPr lang="en-US" sz="1200" dirty="0">
                <a:latin typeface="+mn-lt"/>
              </a:defRPr>
            </a:lvl1pPr>
            <a:lvl2pPr marL="180000" indent="-180000">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43" name="Content Placeholder 26">
            <a:extLst>
              <a:ext uri="{FF2B5EF4-FFF2-40B4-BE49-F238E27FC236}">
                <a16:creationId xmlns:a16="http://schemas.microsoft.com/office/drawing/2014/main" id="{E2C6D0A3-317B-CC7D-D1A6-73B641BF090C}"/>
              </a:ext>
            </a:extLst>
          </p:cNvPr>
          <p:cNvSpPr>
            <a:spLocks noGrp="1"/>
          </p:cNvSpPr>
          <p:nvPr>
            <p:ph sz="quarter" idx="53"/>
          </p:nvPr>
        </p:nvSpPr>
        <p:spPr>
          <a:xfrm>
            <a:off x="9269095" y="3709036"/>
            <a:ext cx="2443480" cy="21837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defRPr lang="en-US" sz="1200">
                <a:latin typeface="+mn-lt"/>
              </a:defRPr>
            </a:lvl1pPr>
            <a:lvl2pPr marL="180000" indent="-180000">
              <a:buFont typeface="Arial" panose="020B0604020202020204" pitchFamily="34" charset="0"/>
              <a:buChar char="•"/>
              <a:defRPr lang="en-US" sz="1200"/>
            </a:lvl2pPr>
          </a:lstStyle>
          <a:p>
            <a:pPr lvl="0"/>
            <a:r>
              <a:rPr lang="en-US"/>
              <a:t>Click to edit Master text styles</a:t>
            </a:r>
          </a:p>
          <a:p>
            <a:pPr lvl="1"/>
            <a:r>
              <a:rPr lang="en-US"/>
              <a:t>Second level</a:t>
            </a:r>
          </a:p>
        </p:txBody>
      </p:sp>
      <p:sp>
        <p:nvSpPr>
          <p:cNvPr id="3" name="Picture Placeholder 2">
            <a:extLst>
              <a:ext uri="{FF2B5EF4-FFF2-40B4-BE49-F238E27FC236}">
                <a16:creationId xmlns:a16="http://schemas.microsoft.com/office/drawing/2014/main" id="{C6E3EF60-66D7-8E7C-6B17-15875880217C}"/>
              </a:ext>
            </a:extLst>
          </p:cNvPr>
          <p:cNvSpPr>
            <a:spLocks noGrp="1"/>
          </p:cNvSpPr>
          <p:nvPr>
            <p:ph type="pic" sz="quarter" idx="55"/>
          </p:nvPr>
        </p:nvSpPr>
        <p:spPr>
          <a:xfrm>
            <a:off x="479424" y="1570674"/>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5" name="Picture Placeholder 4">
            <a:extLst>
              <a:ext uri="{FF2B5EF4-FFF2-40B4-BE49-F238E27FC236}">
                <a16:creationId xmlns:a16="http://schemas.microsoft.com/office/drawing/2014/main" id="{3575652B-BC7C-3AC5-8D62-CF63BC4F22D8}"/>
              </a:ext>
            </a:extLst>
          </p:cNvPr>
          <p:cNvSpPr>
            <a:spLocks noGrp="1"/>
          </p:cNvSpPr>
          <p:nvPr>
            <p:ph type="pic" sz="quarter" idx="56"/>
          </p:nvPr>
        </p:nvSpPr>
        <p:spPr>
          <a:xfrm>
            <a:off x="3381427" y="1570674"/>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6" name="Picture Placeholder 5">
            <a:extLst>
              <a:ext uri="{FF2B5EF4-FFF2-40B4-BE49-F238E27FC236}">
                <a16:creationId xmlns:a16="http://schemas.microsoft.com/office/drawing/2014/main" id="{D0957C38-E5F3-17FB-5AD0-B122A8C6F5AC}"/>
              </a:ext>
            </a:extLst>
          </p:cNvPr>
          <p:cNvSpPr>
            <a:spLocks noGrp="1"/>
          </p:cNvSpPr>
          <p:nvPr>
            <p:ph type="pic" sz="quarter" idx="57"/>
          </p:nvPr>
        </p:nvSpPr>
        <p:spPr>
          <a:xfrm>
            <a:off x="6283430" y="1570674"/>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7" name="Picture Placeholder 6">
            <a:extLst>
              <a:ext uri="{FF2B5EF4-FFF2-40B4-BE49-F238E27FC236}">
                <a16:creationId xmlns:a16="http://schemas.microsoft.com/office/drawing/2014/main" id="{54F82259-E36E-D1B0-6A0A-C0899E3F2C61}"/>
              </a:ext>
            </a:extLst>
          </p:cNvPr>
          <p:cNvSpPr>
            <a:spLocks noGrp="1"/>
          </p:cNvSpPr>
          <p:nvPr>
            <p:ph type="pic" sz="quarter" idx="58"/>
          </p:nvPr>
        </p:nvSpPr>
        <p:spPr>
          <a:xfrm>
            <a:off x="9185433" y="1570674"/>
            <a:ext cx="1440000" cy="1440000"/>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8" name="Slide Number Placeholder 7">
            <a:extLst>
              <a:ext uri="{FF2B5EF4-FFF2-40B4-BE49-F238E27FC236}">
                <a16:creationId xmlns:a16="http://schemas.microsoft.com/office/drawing/2014/main" id="{265A11B8-1055-540F-EC0D-B4B7401969C0}"/>
              </a:ext>
            </a:extLst>
          </p:cNvPr>
          <p:cNvSpPr>
            <a:spLocks noGrp="1"/>
          </p:cNvSpPr>
          <p:nvPr>
            <p:ph type="sldNum" sz="quarter" idx="59"/>
          </p:nvPr>
        </p:nvSpPr>
        <p:spPr/>
        <p:txBody>
          <a:bodyPr/>
          <a:lstStyle/>
          <a:p>
            <a:fld id="{E4C2AD82-1025-4508-97C1-6F7EE5C92734}" type="slidenum">
              <a:rPr lang="en-AU" smtClean="0"/>
              <a:pPr/>
              <a:t>‹#›</a:t>
            </a:fld>
            <a:endParaRPr lang="en-AU"/>
          </a:p>
        </p:txBody>
      </p:sp>
      <p:sp>
        <p:nvSpPr>
          <p:cNvPr id="9" name="Text Placeholder 7">
            <a:extLst>
              <a:ext uri="{FF2B5EF4-FFF2-40B4-BE49-F238E27FC236}">
                <a16:creationId xmlns:a16="http://schemas.microsoft.com/office/drawing/2014/main" id="{B3256FB0-86D9-B7ED-5818-3E3C4EB09578}"/>
              </a:ext>
            </a:extLst>
          </p:cNvPr>
          <p:cNvSpPr>
            <a:spLocks noGrp="1"/>
          </p:cNvSpPr>
          <p:nvPr>
            <p:ph type="body" sz="quarter" idx="60" hasCustomPrompt="1"/>
          </p:nvPr>
        </p:nvSpPr>
        <p:spPr>
          <a:xfrm>
            <a:off x="479425" y="3152775"/>
            <a:ext cx="245681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10" name="Text Placeholder 7">
            <a:extLst>
              <a:ext uri="{FF2B5EF4-FFF2-40B4-BE49-F238E27FC236}">
                <a16:creationId xmlns:a16="http://schemas.microsoft.com/office/drawing/2014/main" id="{E0A118BD-44EF-CC85-4811-0BDC1F239F41}"/>
              </a:ext>
            </a:extLst>
          </p:cNvPr>
          <p:cNvSpPr>
            <a:spLocks noGrp="1"/>
          </p:cNvSpPr>
          <p:nvPr>
            <p:ph type="body" sz="quarter" idx="61" hasCustomPrompt="1"/>
          </p:nvPr>
        </p:nvSpPr>
        <p:spPr>
          <a:xfrm>
            <a:off x="3409315" y="3152775"/>
            <a:ext cx="245681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11" name="Text Placeholder 7">
            <a:extLst>
              <a:ext uri="{FF2B5EF4-FFF2-40B4-BE49-F238E27FC236}">
                <a16:creationId xmlns:a16="http://schemas.microsoft.com/office/drawing/2014/main" id="{00E966BE-CCBA-0360-4F91-21E6B76D2A35}"/>
              </a:ext>
            </a:extLst>
          </p:cNvPr>
          <p:cNvSpPr>
            <a:spLocks noGrp="1"/>
          </p:cNvSpPr>
          <p:nvPr>
            <p:ph type="body" sz="quarter" idx="62" hasCustomPrompt="1"/>
          </p:nvPr>
        </p:nvSpPr>
        <p:spPr>
          <a:xfrm>
            <a:off x="6339205" y="3152775"/>
            <a:ext cx="245681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12" name="Text Placeholder 7">
            <a:extLst>
              <a:ext uri="{FF2B5EF4-FFF2-40B4-BE49-F238E27FC236}">
                <a16:creationId xmlns:a16="http://schemas.microsoft.com/office/drawing/2014/main" id="{FADBE32A-6C66-18E4-DB2A-39C2AE5B7C1A}"/>
              </a:ext>
            </a:extLst>
          </p:cNvPr>
          <p:cNvSpPr>
            <a:spLocks noGrp="1"/>
          </p:cNvSpPr>
          <p:nvPr>
            <p:ph type="body" sz="quarter" idx="63" hasCustomPrompt="1"/>
          </p:nvPr>
        </p:nvSpPr>
        <p:spPr>
          <a:xfrm>
            <a:off x="9269095" y="3152775"/>
            <a:ext cx="2456815"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13" name="Footer Placeholder 4">
            <a:extLst>
              <a:ext uri="{FF2B5EF4-FFF2-40B4-BE49-F238E27FC236}">
                <a16:creationId xmlns:a16="http://schemas.microsoft.com/office/drawing/2014/main" id="{137EB4DC-78A3-EFD2-F64B-FCFA887F2139}"/>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476804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am page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A1EB3-6CC1-5280-453B-1234822BE5AD}"/>
              </a:ext>
            </a:extLst>
          </p:cNvPr>
          <p:cNvSpPr>
            <a:spLocks noGrp="1"/>
          </p:cNvSpPr>
          <p:nvPr>
            <p:ph type="title"/>
          </p:nvPr>
        </p:nvSpPr>
        <p:spPr/>
        <p:txBody>
          <a:bodyPr/>
          <a:lstStyle/>
          <a:p>
            <a:r>
              <a:rPr lang="en-US"/>
              <a:t>Click to edit Master title style</a:t>
            </a:r>
            <a:endParaRPr lang="en-AU"/>
          </a:p>
        </p:txBody>
      </p:sp>
      <p:sp>
        <p:nvSpPr>
          <p:cNvPr id="6" name="Slide Number Placeholder 5">
            <a:extLst>
              <a:ext uri="{FF2B5EF4-FFF2-40B4-BE49-F238E27FC236}">
                <a16:creationId xmlns:a16="http://schemas.microsoft.com/office/drawing/2014/main" id="{FAB1DC8D-B041-95CD-80F7-D97EAE10C09E}"/>
              </a:ext>
            </a:extLst>
          </p:cNvPr>
          <p:cNvSpPr>
            <a:spLocks noGrp="1"/>
          </p:cNvSpPr>
          <p:nvPr>
            <p:ph type="sldNum" sz="quarter" idx="79"/>
          </p:nvPr>
        </p:nvSpPr>
        <p:spPr/>
        <p:txBody>
          <a:bodyPr/>
          <a:lstStyle/>
          <a:p>
            <a:fld id="{E4C2AD82-1025-4508-97C1-6F7EE5C92734}" type="slidenum">
              <a:rPr lang="en-AU" smtClean="0"/>
              <a:pPr/>
              <a:t>‹#›</a:t>
            </a:fld>
            <a:endParaRPr lang="en-AU"/>
          </a:p>
        </p:txBody>
      </p:sp>
      <p:sp>
        <p:nvSpPr>
          <p:cNvPr id="8" name="Content Placeholder 26">
            <a:extLst>
              <a:ext uri="{FF2B5EF4-FFF2-40B4-BE49-F238E27FC236}">
                <a16:creationId xmlns:a16="http://schemas.microsoft.com/office/drawing/2014/main" id="{B505F8BD-B162-C1C6-B72C-EEFA91B9FC13}"/>
              </a:ext>
            </a:extLst>
          </p:cNvPr>
          <p:cNvSpPr>
            <a:spLocks noGrp="1"/>
          </p:cNvSpPr>
          <p:nvPr>
            <p:ph sz="quarter" idx="41"/>
          </p:nvPr>
        </p:nvSpPr>
        <p:spPr>
          <a:xfrm>
            <a:off x="479425" y="2723516"/>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10" name="Content Placeholder 26">
            <a:extLst>
              <a:ext uri="{FF2B5EF4-FFF2-40B4-BE49-F238E27FC236}">
                <a16:creationId xmlns:a16="http://schemas.microsoft.com/office/drawing/2014/main" id="{9EDE8D2A-7B4B-6B0F-50F4-E437322064B2}"/>
              </a:ext>
            </a:extLst>
          </p:cNvPr>
          <p:cNvSpPr>
            <a:spLocks noGrp="1"/>
          </p:cNvSpPr>
          <p:nvPr>
            <p:ph sz="quarter" idx="45"/>
          </p:nvPr>
        </p:nvSpPr>
        <p:spPr>
          <a:xfrm>
            <a:off x="3409315" y="2723516"/>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12" name="Content Placeholder 26">
            <a:extLst>
              <a:ext uri="{FF2B5EF4-FFF2-40B4-BE49-F238E27FC236}">
                <a16:creationId xmlns:a16="http://schemas.microsoft.com/office/drawing/2014/main" id="{968F3CB7-392B-235F-DCBC-BB67A590C4A1}"/>
              </a:ext>
            </a:extLst>
          </p:cNvPr>
          <p:cNvSpPr>
            <a:spLocks noGrp="1"/>
          </p:cNvSpPr>
          <p:nvPr>
            <p:ph sz="quarter" idx="49"/>
          </p:nvPr>
        </p:nvSpPr>
        <p:spPr>
          <a:xfrm>
            <a:off x="6339205" y="2723516"/>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16" name="Content Placeholder 26">
            <a:extLst>
              <a:ext uri="{FF2B5EF4-FFF2-40B4-BE49-F238E27FC236}">
                <a16:creationId xmlns:a16="http://schemas.microsoft.com/office/drawing/2014/main" id="{F562BEEE-510E-E3EC-16E7-6A9465C144B8}"/>
              </a:ext>
            </a:extLst>
          </p:cNvPr>
          <p:cNvSpPr>
            <a:spLocks noGrp="1"/>
          </p:cNvSpPr>
          <p:nvPr>
            <p:ph sz="quarter" idx="53"/>
          </p:nvPr>
        </p:nvSpPr>
        <p:spPr>
          <a:xfrm>
            <a:off x="9269095" y="2723516"/>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20" name="Picture Placeholder 2">
            <a:extLst>
              <a:ext uri="{FF2B5EF4-FFF2-40B4-BE49-F238E27FC236}">
                <a16:creationId xmlns:a16="http://schemas.microsoft.com/office/drawing/2014/main" id="{E6268FF1-3DDB-810C-D320-D10897C65E42}"/>
              </a:ext>
            </a:extLst>
          </p:cNvPr>
          <p:cNvSpPr>
            <a:spLocks noGrp="1"/>
          </p:cNvSpPr>
          <p:nvPr>
            <p:ph type="pic" sz="quarter" idx="55"/>
          </p:nvPr>
        </p:nvSpPr>
        <p:spPr>
          <a:xfrm>
            <a:off x="479424" y="1579880"/>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24" name="Picture Placeholder 4">
            <a:extLst>
              <a:ext uri="{FF2B5EF4-FFF2-40B4-BE49-F238E27FC236}">
                <a16:creationId xmlns:a16="http://schemas.microsoft.com/office/drawing/2014/main" id="{9524EF78-9C08-7D75-3B26-6EA61C857B00}"/>
              </a:ext>
            </a:extLst>
          </p:cNvPr>
          <p:cNvSpPr>
            <a:spLocks noGrp="1"/>
          </p:cNvSpPr>
          <p:nvPr>
            <p:ph type="pic" sz="quarter" idx="56"/>
          </p:nvPr>
        </p:nvSpPr>
        <p:spPr>
          <a:xfrm>
            <a:off x="3381427" y="1579880"/>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28" name="Picture Placeholder 5">
            <a:extLst>
              <a:ext uri="{FF2B5EF4-FFF2-40B4-BE49-F238E27FC236}">
                <a16:creationId xmlns:a16="http://schemas.microsoft.com/office/drawing/2014/main" id="{072D3193-37BD-73F5-1C1B-48DC367F0688}"/>
              </a:ext>
            </a:extLst>
          </p:cNvPr>
          <p:cNvSpPr>
            <a:spLocks noGrp="1"/>
          </p:cNvSpPr>
          <p:nvPr>
            <p:ph type="pic" sz="quarter" idx="57"/>
          </p:nvPr>
        </p:nvSpPr>
        <p:spPr>
          <a:xfrm>
            <a:off x="6283430" y="1579880"/>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32" name="Picture Placeholder 6">
            <a:extLst>
              <a:ext uri="{FF2B5EF4-FFF2-40B4-BE49-F238E27FC236}">
                <a16:creationId xmlns:a16="http://schemas.microsoft.com/office/drawing/2014/main" id="{0C898464-4EAA-EB07-2BB1-BEF55DE0E345}"/>
              </a:ext>
            </a:extLst>
          </p:cNvPr>
          <p:cNvSpPr>
            <a:spLocks noGrp="1"/>
          </p:cNvSpPr>
          <p:nvPr>
            <p:ph type="pic" sz="quarter" idx="58"/>
          </p:nvPr>
        </p:nvSpPr>
        <p:spPr>
          <a:xfrm>
            <a:off x="9185433" y="1579880"/>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43" name="Text Placeholder 7">
            <a:extLst>
              <a:ext uri="{FF2B5EF4-FFF2-40B4-BE49-F238E27FC236}">
                <a16:creationId xmlns:a16="http://schemas.microsoft.com/office/drawing/2014/main" id="{F8021139-4A56-12F0-91C7-D054E83D1205}"/>
              </a:ext>
            </a:extLst>
          </p:cNvPr>
          <p:cNvSpPr>
            <a:spLocks noGrp="1"/>
          </p:cNvSpPr>
          <p:nvPr>
            <p:ph type="body" sz="quarter" idx="60" hasCustomPrompt="1"/>
          </p:nvPr>
        </p:nvSpPr>
        <p:spPr>
          <a:xfrm>
            <a:off x="1569720" y="2091055"/>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44" name="Text Placeholder 7">
            <a:extLst>
              <a:ext uri="{FF2B5EF4-FFF2-40B4-BE49-F238E27FC236}">
                <a16:creationId xmlns:a16="http://schemas.microsoft.com/office/drawing/2014/main" id="{66245C58-468E-5BDD-9EE3-6A7A4215D1CE}"/>
              </a:ext>
            </a:extLst>
          </p:cNvPr>
          <p:cNvSpPr>
            <a:spLocks noGrp="1"/>
          </p:cNvSpPr>
          <p:nvPr>
            <p:ph type="body" sz="quarter" idx="61" hasCustomPrompt="1"/>
          </p:nvPr>
        </p:nvSpPr>
        <p:spPr>
          <a:xfrm>
            <a:off x="4499610" y="2091055"/>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46" name="Text Placeholder 7">
            <a:extLst>
              <a:ext uri="{FF2B5EF4-FFF2-40B4-BE49-F238E27FC236}">
                <a16:creationId xmlns:a16="http://schemas.microsoft.com/office/drawing/2014/main" id="{4E7746B3-BC8C-50C8-5A7C-17E7AA187A27}"/>
              </a:ext>
            </a:extLst>
          </p:cNvPr>
          <p:cNvSpPr>
            <a:spLocks noGrp="1"/>
          </p:cNvSpPr>
          <p:nvPr>
            <p:ph type="body" sz="quarter" idx="62" hasCustomPrompt="1"/>
          </p:nvPr>
        </p:nvSpPr>
        <p:spPr>
          <a:xfrm>
            <a:off x="7429500" y="2091055"/>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48" name="Text Placeholder 7">
            <a:extLst>
              <a:ext uri="{FF2B5EF4-FFF2-40B4-BE49-F238E27FC236}">
                <a16:creationId xmlns:a16="http://schemas.microsoft.com/office/drawing/2014/main" id="{8930BAC6-0389-99D1-45E4-44EE50BDA8F7}"/>
              </a:ext>
            </a:extLst>
          </p:cNvPr>
          <p:cNvSpPr>
            <a:spLocks noGrp="1"/>
          </p:cNvSpPr>
          <p:nvPr>
            <p:ph type="body" sz="quarter" idx="63" hasCustomPrompt="1"/>
          </p:nvPr>
        </p:nvSpPr>
        <p:spPr>
          <a:xfrm>
            <a:off x="10359390" y="2091055"/>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49" name="Content Placeholder 26">
            <a:extLst>
              <a:ext uri="{FF2B5EF4-FFF2-40B4-BE49-F238E27FC236}">
                <a16:creationId xmlns:a16="http://schemas.microsoft.com/office/drawing/2014/main" id="{21372E6E-DFA1-3889-B8D2-8227EF69005F}"/>
              </a:ext>
            </a:extLst>
          </p:cNvPr>
          <p:cNvSpPr>
            <a:spLocks noGrp="1"/>
          </p:cNvSpPr>
          <p:nvPr>
            <p:ph sz="quarter" idx="80"/>
          </p:nvPr>
        </p:nvSpPr>
        <p:spPr>
          <a:xfrm>
            <a:off x="479425" y="5157192"/>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50" name="Content Placeholder 26">
            <a:extLst>
              <a:ext uri="{FF2B5EF4-FFF2-40B4-BE49-F238E27FC236}">
                <a16:creationId xmlns:a16="http://schemas.microsoft.com/office/drawing/2014/main" id="{6DFFA1F1-EF39-671A-A7E7-61D9E60DDA82}"/>
              </a:ext>
            </a:extLst>
          </p:cNvPr>
          <p:cNvSpPr>
            <a:spLocks noGrp="1"/>
          </p:cNvSpPr>
          <p:nvPr>
            <p:ph sz="quarter" idx="81"/>
          </p:nvPr>
        </p:nvSpPr>
        <p:spPr>
          <a:xfrm>
            <a:off x="3409315" y="5157192"/>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51" name="Content Placeholder 26">
            <a:extLst>
              <a:ext uri="{FF2B5EF4-FFF2-40B4-BE49-F238E27FC236}">
                <a16:creationId xmlns:a16="http://schemas.microsoft.com/office/drawing/2014/main" id="{2FF6EF18-5D9D-21DB-3CF1-E042F6986AFF}"/>
              </a:ext>
            </a:extLst>
          </p:cNvPr>
          <p:cNvSpPr>
            <a:spLocks noGrp="1"/>
          </p:cNvSpPr>
          <p:nvPr>
            <p:ph sz="quarter" idx="82"/>
          </p:nvPr>
        </p:nvSpPr>
        <p:spPr>
          <a:xfrm>
            <a:off x="6339205" y="5157192"/>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52" name="Content Placeholder 26">
            <a:extLst>
              <a:ext uri="{FF2B5EF4-FFF2-40B4-BE49-F238E27FC236}">
                <a16:creationId xmlns:a16="http://schemas.microsoft.com/office/drawing/2014/main" id="{A7986216-60BD-148A-A897-CB75CE954EE3}"/>
              </a:ext>
            </a:extLst>
          </p:cNvPr>
          <p:cNvSpPr>
            <a:spLocks noGrp="1"/>
          </p:cNvSpPr>
          <p:nvPr>
            <p:ph sz="quarter" idx="83"/>
          </p:nvPr>
        </p:nvSpPr>
        <p:spPr>
          <a:xfrm>
            <a:off x="9269095" y="5157192"/>
            <a:ext cx="2443480" cy="735964"/>
          </a:xfrm>
          <a:custGeom>
            <a:avLst/>
            <a:gdLst>
              <a:gd name="connsiteX0" fmla="*/ 0 w 3362325"/>
              <a:gd name="connsiteY0" fmla="*/ 0 h 3987800"/>
              <a:gd name="connsiteX1" fmla="*/ 3362325 w 3362325"/>
              <a:gd name="connsiteY1" fmla="*/ 0 h 3987800"/>
              <a:gd name="connsiteX2" fmla="*/ 3362325 w 3362325"/>
              <a:gd name="connsiteY2" fmla="*/ 3987800 h 3987800"/>
              <a:gd name="connsiteX3" fmla="*/ 0 w 3362325"/>
              <a:gd name="connsiteY3" fmla="*/ 3987800 h 3987800"/>
            </a:gdLst>
            <a:ahLst/>
            <a:cxnLst>
              <a:cxn ang="0">
                <a:pos x="connsiteX0" y="connsiteY0"/>
              </a:cxn>
              <a:cxn ang="0">
                <a:pos x="connsiteX1" y="connsiteY1"/>
              </a:cxn>
              <a:cxn ang="0">
                <a:pos x="connsiteX2" y="connsiteY2"/>
              </a:cxn>
              <a:cxn ang="0">
                <a:pos x="connsiteX3" y="connsiteY3"/>
              </a:cxn>
            </a:cxnLst>
            <a:rect l="l" t="t" r="r" b="b"/>
            <a:pathLst>
              <a:path w="3362325" h="3987800">
                <a:moveTo>
                  <a:pt x="0" y="0"/>
                </a:moveTo>
                <a:lnTo>
                  <a:pt x="3362325" y="0"/>
                </a:lnTo>
                <a:lnTo>
                  <a:pt x="3362325" y="3987800"/>
                </a:lnTo>
                <a:lnTo>
                  <a:pt x="0" y="3987800"/>
                </a:lnTo>
                <a:close/>
              </a:path>
            </a:pathLst>
          </a:custGeom>
          <a:solidFill>
            <a:schemeClr val="bg1"/>
          </a:solidFill>
          <a:effectLst>
            <a:outerShdw dist="38100" dir="5400000" algn="t" rotWithShape="0">
              <a:prstClr val="black"/>
            </a:outerShdw>
          </a:effectLst>
        </p:spPr>
        <p:txBody>
          <a:bodyPr vert="horz" wrap="square" lIns="0" tIns="0" rIns="0" bIns="0" rtlCol="0">
            <a:noAutofit/>
          </a:bodyPr>
          <a:lstStyle>
            <a:lvl1pPr>
              <a:spcAft>
                <a:spcPts val="600"/>
              </a:spcAft>
              <a:defRPr lang="en-US" sz="1200" dirty="0">
                <a:latin typeface="+mn-lt"/>
              </a:defRPr>
            </a:lvl1pPr>
            <a:lvl2pPr marL="180000" indent="-180000">
              <a:spcAft>
                <a:spcPts val="600"/>
              </a:spcAft>
              <a:buFont typeface="Arial" panose="020B0604020202020204" pitchFamily="34" charset="0"/>
              <a:buChar char="•"/>
              <a:defRPr lang="en-US" sz="1200" dirty="0"/>
            </a:lvl2pPr>
          </a:lstStyle>
          <a:p>
            <a:pPr lvl="0"/>
            <a:r>
              <a:rPr lang="en-US"/>
              <a:t>Click to edit Master text styles</a:t>
            </a:r>
          </a:p>
          <a:p>
            <a:pPr lvl="1"/>
            <a:r>
              <a:rPr lang="en-US"/>
              <a:t>Second level</a:t>
            </a:r>
          </a:p>
        </p:txBody>
      </p:sp>
      <p:sp>
        <p:nvSpPr>
          <p:cNvPr id="53" name="Picture Placeholder 2">
            <a:extLst>
              <a:ext uri="{FF2B5EF4-FFF2-40B4-BE49-F238E27FC236}">
                <a16:creationId xmlns:a16="http://schemas.microsoft.com/office/drawing/2014/main" id="{FEE78842-C85C-014C-562C-6C7C5D30F5FC}"/>
              </a:ext>
            </a:extLst>
          </p:cNvPr>
          <p:cNvSpPr>
            <a:spLocks noGrp="1"/>
          </p:cNvSpPr>
          <p:nvPr>
            <p:ph type="pic" sz="quarter" idx="84"/>
          </p:nvPr>
        </p:nvSpPr>
        <p:spPr>
          <a:xfrm>
            <a:off x="479424" y="4013556"/>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54" name="Picture Placeholder 4">
            <a:extLst>
              <a:ext uri="{FF2B5EF4-FFF2-40B4-BE49-F238E27FC236}">
                <a16:creationId xmlns:a16="http://schemas.microsoft.com/office/drawing/2014/main" id="{2C77EB81-8E84-5766-A55B-53721780B951}"/>
              </a:ext>
            </a:extLst>
          </p:cNvPr>
          <p:cNvSpPr>
            <a:spLocks noGrp="1"/>
          </p:cNvSpPr>
          <p:nvPr>
            <p:ph type="pic" sz="quarter" idx="85"/>
          </p:nvPr>
        </p:nvSpPr>
        <p:spPr>
          <a:xfrm>
            <a:off x="3381427" y="4013556"/>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55" name="Picture Placeholder 5">
            <a:extLst>
              <a:ext uri="{FF2B5EF4-FFF2-40B4-BE49-F238E27FC236}">
                <a16:creationId xmlns:a16="http://schemas.microsoft.com/office/drawing/2014/main" id="{EB21DE75-C300-BB01-1AB5-589D60E80784}"/>
              </a:ext>
            </a:extLst>
          </p:cNvPr>
          <p:cNvSpPr>
            <a:spLocks noGrp="1"/>
          </p:cNvSpPr>
          <p:nvPr>
            <p:ph type="pic" sz="quarter" idx="86"/>
          </p:nvPr>
        </p:nvSpPr>
        <p:spPr>
          <a:xfrm>
            <a:off x="6283430" y="4013556"/>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56" name="Picture Placeholder 6">
            <a:extLst>
              <a:ext uri="{FF2B5EF4-FFF2-40B4-BE49-F238E27FC236}">
                <a16:creationId xmlns:a16="http://schemas.microsoft.com/office/drawing/2014/main" id="{4E31BB73-A440-5A01-B084-43F4A54D06EA}"/>
              </a:ext>
            </a:extLst>
          </p:cNvPr>
          <p:cNvSpPr>
            <a:spLocks noGrp="1"/>
          </p:cNvSpPr>
          <p:nvPr>
            <p:ph type="pic" sz="quarter" idx="87"/>
          </p:nvPr>
        </p:nvSpPr>
        <p:spPr>
          <a:xfrm>
            <a:off x="9185433" y="4013556"/>
            <a:ext cx="978674" cy="978674"/>
          </a:xfrm>
          <a:prstGeom prst="ellipse">
            <a:avLst/>
          </a:prstGeom>
          <a:solidFill>
            <a:schemeClr val="bg1">
              <a:lumMod val="85000"/>
            </a:schemeClr>
          </a:solidFill>
        </p:spPr>
        <p:txBody>
          <a:bodyPr wrap="square" anchor="ctr" anchorCtr="1">
            <a:noAutofit/>
          </a:bodyPr>
          <a:lstStyle/>
          <a:p>
            <a:r>
              <a:rPr lang="en-US"/>
              <a:t>Click icon to add picture</a:t>
            </a:r>
            <a:endParaRPr lang="en-AU"/>
          </a:p>
        </p:txBody>
      </p:sp>
      <p:sp>
        <p:nvSpPr>
          <p:cNvPr id="57" name="Text Placeholder 7">
            <a:extLst>
              <a:ext uri="{FF2B5EF4-FFF2-40B4-BE49-F238E27FC236}">
                <a16:creationId xmlns:a16="http://schemas.microsoft.com/office/drawing/2014/main" id="{659A0FFE-6837-E70B-44BF-3881ADF2E57B}"/>
              </a:ext>
            </a:extLst>
          </p:cNvPr>
          <p:cNvSpPr>
            <a:spLocks noGrp="1"/>
          </p:cNvSpPr>
          <p:nvPr>
            <p:ph type="body" sz="quarter" idx="88" hasCustomPrompt="1"/>
          </p:nvPr>
        </p:nvSpPr>
        <p:spPr>
          <a:xfrm>
            <a:off x="1569720" y="4524731"/>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58" name="Text Placeholder 7">
            <a:extLst>
              <a:ext uri="{FF2B5EF4-FFF2-40B4-BE49-F238E27FC236}">
                <a16:creationId xmlns:a16="http://schemas.microsoft.com/office/drawing/2014/main" id="{42E52ED7-AD83-0BE1-D42F-D021640B1860}"/>
              </a:ext>
            </a:extLst>
          </p:cNvPr>
          <p:cNvSpPr>
            <a:spLocks noGrp="1"/>
          </p:cNvSpPr>
          <p:nvPr>
            <p:ph type="body" sz="quarter" idx="89" hasCustomPrompt="1"/>
          </p:nvPr>
        </p:nvSpPr>
        <p:spPr>
          <a:xfrm>
            <a:off x="4499610" y="4524731"/>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59" name="Text Placeholder 7">
            <a:extLst>
              <a:ext uri="{FF2B5EF4-FFF2-40B4-BE49-F238E27FC236}">
                <a16:creationId xmlns:a16="http://schemas.microsoft.com/office/drawing/2014/main" id="{30BFD063-8EC7-E687-216C-5E9769ECB7FF}"/>
              </a:ext>
            </a:extLst>
          </p:cNvPr>
          <p:cNvSpPr>
            <a:spLocks noGrp="1"/>
          </p:cNvSpPr>
          <p:nvPr>
            <p:ph type="body" sz="quarter" idx="90" hasCustomPrompt="1"/>
          </p:nvPr>
        </p:nvSpPr>
        <p:spPr>
          <a:xfrm>
            <a:off x="7429500" y="4524731"/>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60" name="Text Placeholder 7">
            <a:extLst>
              <a:ext uri="{FF2B5EF4-FFF2-40B4-BE49-F238E27FC236}">
                <a16:creationId xmlns:a16="http://schemas.microsoft.com/office/drawing/2014/main" id="{D19C84DC-A3B2-8D73-9A5A-5CE1214749FD}"/>
              </a:ext>
            </a:extLst>
          </p:cNvPr>
          <p:cNvSpPr>
            <a:spLocks noGrp="1"/>
          </p:cNvSpPr>
          <p:nvPr>
            <p:ph type="body" sz="quarter" idx="91" hasCustomPrompt="1"/>
          </p:nvPr>
        </p:nvSpPr>
        <p:spPr>
          <a:xfrm>
            <a:off x="10359390" y="4524731"/>
            <a:ext cx="1366520" cy="438150"/>
          </a:xfrm>
        </p:spPr>
        <p:txBody>
          <a:bodyPr anchor="b" anchorCtr="0"/>
          <a:lstStyle>
            <a:lvl1pPr>
              <a:spcAft>
                <a:spcPts val="0"/>
              </a:spcAft>
              <a:defRPr sz="1200" b="1">
                <a:solidFill>
                  <a:schemeClr val="accent1"/>
                </a:solidFill>
                <a:latin typeface="+mn-lt"/>
                <a:cs typeface="Arial" panose="020B0604020202020204" pitchFamily="34" charset="0"/>
              </a:defRPr>
            </a:lvl1pPr>
            <a:lvl2pPr marL="0" indent="0">
              <a:spcAft>
                <a:spcPts val="0"/>
              </a:spcAft>
              <a:buNone/>
              <a:defRPr sz="1200" b="1">
                <a:latin typeface="+mn-lt"/>
              </a:defRPr>
            </a:lvl2pPr>
          </a:lstStyle>
          <a:p>
            <a:pPr lvl="0"/>
            <a:r>
              <a:rPr lang="en-US"/>
              <a:t>Name Surname</a:t>
            </a:r>
          </a:p>
          <a:p>
            <a:pPr lvl="1"/>
            <a:r>
              <a:rPr lang="en-US"/>
              <a:t>Position</a:t>
            </a:r>
            <a:endParaRPr lang="en-AU"/>
          </a:p>
        </p:txBody>
      </p:sp>
      <p:sp>
        <p:nvSpPr>
          <p:cNvPr id="3" name="Footer Placeholder 4">
            <a:extLst>
              <a:ext uri="{FF2B5EF4-FFF2-40B4-BE49-F238E27FC236}">
                <a16:creationId xmlns:a16="http://schemas.microsoft.com/office/drawing/2014/main" id="{5EC19900-F29A-80F6-E0C7-6159AD569497}"/>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17360591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1 Column">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F2035A-75A7-E1ED-ED1D-EC866A28C492}"/>
              </a:ext>
            </a:extLst>
          </p:cNvPr>
          <p:cNvSpPr>
            <a:spLocks noGrp="1"/>
          </p:cNvSpPr>
          <p:nvPr>
            <p:ph type="sldNum" sz="quarter" idx="12"/>
          </p:nvPr>
        </p:nvSpPr>
        <p:spPr/>
        <p:txBody>
          <a:bodyPr/>
          <a:lstStyle/>
          <a:p>
            <a:fld id="{E4C2AD82-1025-4508-97C1-6F7EE5C92734}" type="slidenum">
              <a:rPr lang="en-AU" smtClean="0"/>
              <a:pPr/>
              <a:t>‹#›</a:t>
            </a:fld>
            <a:endParaRPr lang="en-AU"/>
          </a:p>
        </p:txBody>
      </p:sp>
      <p:sp>
        <p:nvSpPr>
          <p:cNvPr id="8" name="Content Placeholder 2">
            <a:extLst>
              <a:ext uri="{FF2B5EF4-FFF2-40B4-BE49-F238E27FC236}">
                <a16:creationId xmlns:a16="http://schemas.microsoft.com/office/drawing/2014/main" id="{70E579F2-6F66-075B-A744-8E0562F424A3}"/>
              </a:ext>
            </a:extLst>
          </p:cNvPr>
          <p:cNvSpPr>
            <a:spLocks noGrp="1"/>
          </p:cNvSpPr>
          <p:nvPr>
            <p:ph idx="13" hasCustomPrompt="1"/>
          </p:nvPr>
        </p:nvSpPr>
        <p:spPr>
          <a:xfrm>
            <a:off x="479425" y="1484784"/>
            <a:ext cx="11233150" cy="297717"/>
          </a:xfrm>
        </p:spPr>
        <p:txBody>
          <a:bodyPr/>
          <a:lstStyle>
            <a:lvl1pPr>
              <a:defRPr sz="1800">
                <a:solidFill>
                  <a:schemeClr val="accent1"/>
                </a:solidFill>
              </a:defRPr>
            </a:lvl1pPr>
          </a:lstStyle>
          <a:p>
            <a:pPr lvl="0"/>
            <a:r>
              <a:rPr lang="en-US"/>
              <a:t>Subheading Goes Here</a:t>
            </a:r>
            <a:endParaRPr lang="en-AU"/>
          </a:p>
        </p:txBody>
      </p:sp>
      <p:sp>
        <p:nvSpPr>
          <p:cNvPr id="6" name="Title 5">
            <a:extLst>
              <a:ext uri="{FF2B5EF4-FFF2-40B4-BE49-F238E27FC236}">
                <a16:creationId xmlns:a16="http://schemas.microsoft.com/office/drawing/2014/main" id="{B6BFDE06-550D-8511-74E2-ABBE9E6CFA7F}"/>
              </a:ext>
            </a:extLst>
          </p:cNvPr>
          <p:cNvSpPr>
            <a:spLocks noGrp="1"/>
          </p:cNvSpPr>
          <p:nvPr>
            <p:ph type="title"/>
          </p:nvPr>
        </p:nvSpPr>
        <p:spPr/>
        <p:txBody>
          <a:bodyPr/>
          <a:lstStyle/>
          <a:p>
            <a:r>
              <a:rPr lang="en-US"/>
              <a:t>Click to edit Master title style</a:t>
            </a:r>
            <a:endParaRPr lang="en-AU"/>
          </a:p>
        </p:txBody>
      </p:sp>
      <p:sp>
        <p:nvSpPr>
          <p:cNvPr id="19" name="Content Placeholder 89">
            <a:extLst>
              <a:ext uri="{FF2B5EF4-FFF2-40B4-BE49-F238E27FC236}">
                <a16:creationId xmlns:a16="http://schemas.microsoft.com/office/drawing/2014/main" id="{CE105CEB-5C59-BE35-37CC-93952A71A1DF}"/>
              </a:ext>
            </a:extLst>
          </p:cNvPr>
          <p:cNvSpPr>
            <a:spLocks noGrp="1"/>
          </p:cNvSpPr>
          <p:nvPr userDrawn="1">
            <p:ph sz="quarter" idx="54"/>
          </p:nvPr>
        </p:nvSpPr>
        <p:spPr>
          <a:xfrm>
            <a:off x="479425" y="2609287"/>
            <a:ext cx="3589200" cy="140400"/>
          </a:xfrm>
          <a:solidFill>
            <a:schemeClr val="tx1"/>
          </a:solidFill>
        </p:spPr>
        <p:txBody>
          <a:bodyPr/>
          <a:lstStyle>
            <a:lvl1pPr>
              <a:defRPr>
                <a:noFill/>
              </a:defRPr>
            </a:lvl1pPr>
          </a:lstStyle>
          <a:p>
            <a:pPr lvl="0"/>
            <a:r>
              <a:rPr lang="en-US"/>
              <a:t>Click to edit Master text styles</a:t>
            </a:r>
          </a:p>
        </p:txBody>
      </p:sp>
      <p:sp>
        <p:nvSpPr>
          <p:cNvPr id="20" name="Content Placeholder 89">
            <a:extLst>
              <a:ext uri="{FF2B5EF4-FFF2-40B4-BE49-F238E27FC236}">
                <a16:creationId xmlns:a16="http://schemas.microsoft.com/office/drawing/2014/main" id="{3F083E6A-394F-2F11-9ADC-9353D3CCF977}"/>
              </a:ext>
            </a:extLst>
          </p:cNvPr>
          <p:cNvSpPr>
            <a:spLocks noGrp="1"/>
          </p:cNvSpPr>
          <p:nvPr userDrawn="1">
            <p:ph sz="quarter" idx="55"/>
          </p:nvPr>
        </p:nvSpPr>
        <p:spPr>
          <a:xfrm>
            <a:off x="4301399" y="2609287"/>
            <a:ext cx="3589200" cy="140400"/>
          </a:xfrm>
          <a:solidFill>
            <a:schemeClr val="tx1"/>
          </a:solidFill>
        </p:spPr>
        <p:txBody>
          <a:bodyPr/>
          <a:lstStyle>
            <a:lvl1pPr>
              <a:defRPr>
                <a:noFill/>
              </a:defRPr>
            </a:lvl1pPr>
          </a:lstStyle>
          <a:p>
            <a:pPr lvl="0"/>
            <a:r>
              <a:rPr lang="en-US"/>
              <a:t>Click to edit Master text styles</a:t>
            </a:r>
          </a:p>
        </p:txBody>
      </p:sp>
      <p:sp>
        <p:nvSpPr>
          <p:cNvPr id="21" name="Content Placeholder 89">
            <a:extLst>
              <a:ext uri="{FF2B5EF4-FFF2-40B4-BE49-F238E27FC236}">
                <a16:creationId xmlns:a16="http://schemas.microsoft.com/office/drawing/2014/main" id="{3B4197A3-366D-56D2-A23F-C2738CC76C1B}"/>
              </a:ext>
            </a:extLst>
          </p:cNvPr>
          <p:cNvSpPr>
            <a:spLocks noGrp="1"/>
          </p:cNvSpPr>
          <p:nvPr userDrawn="1">
            <p:ph sz="quarter" idx="56"/>
          </p:nvPr>
        </p:nvSpPr>
        <p:spPr>
          <a:xfrm>
            <a:off x="8123375" y="2609287"/>
            <a:ext cx="3589200" cy="140400"/>
          </a:xfrm>
          <a:solidFill>
            <a:schemeClr val="tx1"/>
          </a:solidFill>
        </p:spPr>
        <p:txBody>
          <a:bodyPr/>
          <a:lstStyle>
            <a:lvl1pPr>
              <a:defRPr>
                <a:noFill/>
              </a:defRPr>
            </a:lvl1pPr>
          </a:lstStyle>
          <a:p>
            <a:pPr lvl="0"/>
            <a:r>
              <a:rPr lang="en-US"/>
              <a:t>Click to edit Master text styles</a:t>
            </a:r>
          </a:p>
        </p:txBody>
      </p:sp>
      <p:sp>
        <p:nvSpPr>
          <p:cNvPr id="22" name="Content Placeholder 11">
            <a:extLst>
              <a:ext uri="{FF2B5EF4-FFF2-40B4-BE49-F238E27FC236}">
                <a16:creationId xmlns:a16="http://schemas.microsoft.com/office/drawing/2014/main" id="{F61B57C4-DA76-F895-EA19-A197CDFCEFD1}"/>
              </a:ext>
            </a:extLst>
          </p:cNvPr>
          <p:cNvSpPr>
            <a:spLocks noGrp="1"/>
          </p:cNvSpPr>
          <p:nvPr userDrawn="1">
            <p:ph sz="quarter" idx="20" hasCustomPrompt="1"/>
          </p:nvPr>
        </p:nvSpPr>
        <p:spPr>
          <a:xfrm>
            <a:off x="479425" y="2849650"/>
            <a:ext cx="1855561" cy="49770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1pPr>
              <a:defRPr sz="1800" b="1">
                <a:solidFill>
                  <a:schemeClr val="tx2"/>
                </a:solidFill>
              </a:defRPr>
            </a:lvl1pPr>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a:t>
            </a:r>
          </a:p>
        </p:txBody>
      </p:sp>
      <p:sp>
        <p:nvSpPr>
          <p:cNvPr id="23" name="Content Placeholder 11">
            <a:extLst>
              <a:ext uri="{FF2B5EF4-FFF2-40B4-BE49-F238E27FC236}">
                <a16:creationId xmlns:a16="http://schemas.microsoft.com/office/drawing/2014/main" id="{CBB83583-57C5-260D-D24C-6372E51B0BB7}"/>
              </a:ext>
            </a:extLst>
          </p:cNvPr>
          <p:cNvSpPr>
            <a:spLocks noGrp="1"/>
          </p:cNvSpPr>
          <p:nvPr userDrawn="1">
            <p:ph sz="quarter" idx="57" hasCustomPrompt="1"/>
          </p:nvPr>
        </p:nvSpPr>
        <p:spPr>
          <a:xfrm>
            <a:off x="4301401" y="2849650"/>
            <a:ext cx="1855561" cy="49770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1pPr>
              <a:defRPr sz="1800" b="1">
                <a:solidFill>
                  <a:schemeClr val="tx2"/>
                </a:solidFill>
              </a:defRPr>
            </a:lvl1pPr>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a:t>
            </a:r>
          </a:p>
        </p:txBody>
      </p:sp>
      <p:sp>
        <p:nvSpPr>
          <p:cNvPr id="24" name="Content Placeholder 11">
            <a:extLst>
              <a:ext uri="{FF2B5EF4-FFF2-40B4-BE49-F238E27FC236}">
                <a16:creationId xmlns:a16="http://schemas.microsoft.com/office/drawing/2014/main" id="{41D22D39-D14C-ACFA-CC56-51DFF4A514B6}"/>
              </a:ext>
            </a:extLst>
          </p:cNvPr>
          <p:cNvSpPr>
            <a:spLocks noGrp="1"/>
          </p:cNvSpPr>
          <p:nvPr userDrawn="1">
            <p:ph sz="quarter" idx="58" hasCustomPrompt="1"/>
          </p:nvPr>
        </p:nvSpPr>
        <p:spPr>
          <a:xfrm>
            <a:off x="8123375" y="2849650"/>
            <a:ext cx="1855561" cy="497707"/>
          </a:xfrm>
          <a:custGeom>
            <a:avLst/>
            <a:gdLst>
              <a:gd name="connsiteX0" fmla="*/ 0 w 3330575"/>
              <a:gd name="connsiteY0" fmla="*/ 0 h 1800000"/>
              <a:gd name="connsiteX1" fmla="*/ 3330575 w 3330575"/>
              <a:gd name="connsiteY1" fmla="*/ 0 h 1800000"/>
              <a:gd name="connsiteX2" fmla="*/ 3330575 w 3330575"/>
              <a:gd name="connsiteY2" fmla="*/ 1800000 h 1800000"/>
              <a:gd name="connsiteX3" fmla="*/ 0 w 3330575"/>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3330575" h="1800000">
                <a:moveTo>
                  <a:pt x="0" y="0"/>
                </a:moveTo>
                <a:lnTo>
                  <a:pt x="3330575" y="0"/>
                </a:lnTo>
                <a:lnTo>
                  <a:pt x="3330575" y="1800000"/>
                </a:lnTo>
                <a:lnTo>
                  <a:pt x="0" y="1800000"/>
                </a:lnTo>
                <a:close/>
              </a:path>
            </a:pathLst>
          </a:custGeom>
        </p:spPr>
        <p:txBody>
          <a:bodyPr wrap="square">
            <a:noAutofit/>
          </a:bodyPr>
          <a:lstStyle>
            <a:lvl1pPr>
              <a:defRPr sz="1800" b="1">
                <a:solidFill>
                  <a:schemeClr val="tx2"/>
                </a:solidFill>
              </a:defRPr>
            </a:lvl1pPr>
            <a:lvl2pPr marL="180000" indent="-180000">
              <a:spcAft>
                <a:spcPts val="600"/>
              </a:spcAft>
              <a:buFont typeface="Arial" panose="020B0604020202020204" pitchFamily="34" charset="0"/>
              <a:buChar char="•"/>
              <a:defRPr/>
            </a:lvl2pPr>
            <a:lvl3pPr marL="360363" indent="-180000">
              <a:spcAft>
                <a:spcPts val="600"/>
              </a:spcAft>
              <a:buFont typeface="Arial" panose="020B0604020202020204" pitchFamily="34" charset="0"/>
              <a:buChar char="•"/>
              <a:defRPr/>
            </a:lvl3pPr>
            <a:lvl4pPr>
              <a:spcAft>
                <a:spcPts val="600"/>
              </a:spcAft>
              <a:defRPr/>
            </a:lvl4pPr>
            <a:lvl5pPr>
              <a:spcAft>
                <a:spcPts val="600"/>
              </a:spcAft>
              <a:defRPr/>
            </a:lvl5pPr>
          </a:lstStyle>
          <a:p>
            <a:pPr lvl="0"/>
            <a:r>
              <a:rPr lang="en-US"/>
              <a:t>##</a:t>
            </a:r>
          </a:p>
        </p:txBody>
      </p:sp>
      <p:sp>
        <p:nvSpPr>
          <p:cNvPr id="26" name="Text Placeholder 25">
            <a:extLst>
              <a:ext uri="{FF2B5EF4-FFF2-40B4-BE49-F238E27FC236}">
                <a16:creationId xmlns:a16="http://schemas.microsoft.com/office/drawing/2014/main" id="{F0BBD79E-B4EF-F797-C676-3BC92C59F3E4}"/>
              </a:ext>
            </a:extLst>
          </p:cNvPr>
          <p:cNvSpPr>
            <a:spLocks noGrp="1"/>
          </p:cNvSpPr>
          <p:nvPr userDrawn="1">
            <p:ph type="body" sz="quarter" idx="59"/>
          </p:nvPr>
        </p:nvSpPr>
        <p:spPr>
          <a:xfrm>
            <a:off x="479425" y="3522692"/>
            <a:ext cx="3499301" cy="2322937"/>
          </a:xfrm>
        </p:spPr>
        <p:txBody>
          <a:bodyPr/>
          <a:lstStyle>
            <a:lvl1pPr>
              <a:defRPr sz="2000"/>
            </a:lvl1pPr>
          </a:lstStyle>
          <a:p>
            <a:pPr lvl="0"/>
            <a:r>
              <a:rPr lang="en-US"/>
              <a:t>Click to edit Master text styles</a:t>
            </a:r>
          </a:p>
        </p:txBody>
      </p:sp>
      <p:sp>
        <p:nvSpPr>
          <p:cNvPr id="27" name="Text Placeholder 25">
            <a:extLst>
              <a:ext uri="{FF2B5EF4-FFF2-40B4-BE49-F238E27FC236}">
                <a16:creationId xmlns:a16="http://schemas.microsoft.com/office/drawing/2014/main" id="{4EEE285A-B6D5-5172-A8C5-AB9C4EF21A8F}"/>
              </a:ext>
            </a:extLst>
          </p:cNvPr>
          <p:cNvSpPr>
            <a:spLocks noGrp="1"/>
          </p:cNvSpPr>
          <p:nvPr userDrawn="1">
            <p:ph type="body" sz="quarter" idx="60"/>
          </p:nvPr>
        </p:nvSpPr>
        <p:spPr>
          <a:xfrm>
            <a:off x="4301401" y="3522692"/>
            <a:ext cx="3499301" cy="2322937"/>
          </a:xfrm>
        </p:spPr>
        <p:txBody>
          <a:bodyPr/>
          <a:lstStyle>
            <a:lvl1pPr>
              <a:defRPr sz="2000"/>
            </a:lvl1pPr>
          </a:lstStyle>
          <a:p>
            <a:pPr lvl="0"/>
            <a:r>
              <a:rPr lang="en-US"/>
              <a:t>Click to edit Master text styles</a:t>
            </a:r>
          </a:p>
        </p:txBody>
      </p:sp>
      <p:sp>
        <p:nvSpPr>
          <p:cNvPr id="29" name="Text Placeholder 25">
            <a:extLst>
              <a:ext uri="{FF2B5EF4-FFF2-40B4-BE49-F238E27FC236}">
                <a16:creationId xmlns:a16="http://schemas.microsoft.com/office/drawing/2014/main" id="{7BF5FB76-98C4-F44D-D34F-7AD17A4FF36D}"/>
              </a:ext>
            </a:extLst>
          </p:cNvPr>
          <p:cNvSpPr>
            <a:spLocks noGrp="1"/>
          </p:cNvSpPr>
          <p:nvPr userDrawn="1">
            <p:ph type="body" sz="quarter" idx="61"/>
          </p:nvPr>
        </p:nvSpPr>
        <p:spPr>
          <a:xfrm>
            <a:off x="8123375" y="3522692"/>
            <a:ext cx="3589198" cy="2322937"/>
          </a:xfrm>
        </p:spPr>
        <p:txBody>
          <a:bodyPr/>
          <a:lstStyle>
            <a:lvl1pPr>
              <a:defRPr sz="2000"/>
            </a:lvl1pPr>
          </a:lstStyle>
          <a:p>
            <a:pPr lvl="0"/>
            <a:r>
              <a:rPr lang="en-US"/>
              <a:t>Click to edit Master text styles</a:t>
            </a:r>
          </a:p>
        </p:txBody>
      </p:sp>
      <p:sp>
        <p:nvSpPr>
          <p:cNvPr id="30" name="Content Placeholder 89">
            <a:extLst>
              <a:ext uri="{FF2B5EF4-FFF2-40B4-BE49-F238E27FC236}">
                <a16:creationId xmlns:a16="http://schemas.microsoft.com/office/drawing/2014/main" id="{1974933D-E249-CF87-4D7F-460523602B18}"/>
              </a:ext>
            </a:extLst>
          </p:cNvPr>
          <p:cNvSpPr>
            <a:spLocks noGrp="1"/>
          </p:cNvSpPr>
          <p:nvPr>
            <p:ph sz="quarter" idx="62"/>
          </p:nvPr>
        </p:nvSpPr>
        <p:spPr>
          <a:xfrm>
            <a:off x="4181412" y="2609287"/>
            <a:ext cx="7200" cy="3236400"/>
          </a:xfrm>
          <a:solidFill>
            <a:schemeClr val="tx1"/>
          </a:solidFill>
        </p:spPr>
        <p:txBody>
          <a:bodyPr/>
          <a:lstStyle>
            <a:lvl1pPr>
              <a:defRPr>
                <a:noFill/>
              </a:defRPr>
            </a:lvl1pPr>
          </a:lstStyle>
          <a:p>
            <a:pPr lvl="0"/>
            <a:r>
              <a:rPr lang="en-US"/>
              <a:t>Click to edit Master text styles</a:t>
            </a:r>
          </a:p>
        </p:txBody>
      </p:sp>
      <p:sp>
        <p:nvSpPr>
          <p:cNvPr id="31" name="Content Placeholder 89">
            <a:extLst>
              <a:ext uri="{FF2B5EF4-FFF2-40B4-BE49-F238E27FC236}">
                <a16:creationId xmlns:a16="http://schemas.microsoft.com/office/drawing/2014/main" id="{91660A77-4B6D-9B76-41F8-73FD63E2B13B}"/>
              </a:ext>
            </a:extLst>
          </p:cNvPr>
          <p:cNvSpPr>
            <a:spLocks noGrp="1"/>
          </p:cNvSpPr>
          <p:nvPr>
            <p:ph sz="quarter" idx="63"/>
          </p:nvPr>
        </p:nvSpPr>
        <p:spPr>
          <a:xfrm>
            <a:off x="8003386" y="2609287"/>
            <a:ext cx="7200" cy="3236400"/>
          </a:xfrm>
          <a:solidFill>
            <a:schemeClr val="tx1"/>
          </a:solidFill>
        </p:spPr>
        <p:txBody>
          <a:bodyPr/>
          <a:lstStyle>
            <a:lvl1pPr>
              <a:defRPr>
                <a:noFill/>
              </a:defRPr>
            </a:lvl1pPr>
          </a:lstStyle>
          <a:p>
            <a:pPr lvl="0"/>
            <a:r>
              <a:rPr lang="en-US"/>
              <a:t>Click to edit Master text styles</a:t>
            </a:r>
          </a:p>
        </p:txBody>
      </p:sp>
      <p:sp>
        <p:nvSpPr>
          <p:cNvPr id="3" name="Footer Placeholder 4">
            <a:extLst>
              <a:ext uri="{FF2B5EF4-FFF2-40B4-BE49-F238E27FC236}">
                <a16:creationId xmlns:a16="http://schemas.microsoft.com/office/drawing/2014/main" id="{EA0F1775-A767-20CD-CC6F-AB450D1D6919}"/>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Tree>
    <p:extLst>
      <p:ext uri="{BB962C8B-B14F-4D97-AF65-F5344CB8AC3E}">
        <p14:creationId xmlns:p14="http://schemas.microsoft.com/office/powerpoint/2010/main" val="2264190992"/>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362C1EE7-6DA4-6C58-80EA-AAD92FD81E1D}"/>
              </a:ext>
            </a:extLst>
          </p:cNvPr>
          <p:cNvSpPr>
            <a:spLocks noGrp="1"/>
          </p:cNvSpPr>
          <p:nvPr>
            <p:ph type="pic" sz="quarter" idx="25" hasCustomPrompt="1"/>
          </p:nvPr>
        </p:nvSpPr>
        <p:spPr>
          <a:xfrm>
            <a:off x="0" y="0"/>
            <a:ext cx="12192000" cy="6858000"/>
          </a:xfrm>
          <a:prstGeom prst="rect">
            <a:avLst/>
          </a:prstGeom>
          <a:solidFill>
            <a:schemeClr val="bg1">
              <a:lumMod val="95000"/>
            </a:schemeClr>
          </a:solidFill>
        </p:spPr>
        <p:txBody>
          <a:bodyPr wrap="square">
            <a:noAutofit/>
          </a:bodyPr>
          <a:lstStyle>
            <a:lvl1pPr algn="ctr">
              <a:defRPr/>
            </a:lvl1pPr>
          </a:lstStyle>
          <a:p>
            <a:r>
              <a:rPr lang="en-AU"/>
              <a:t>Click on icon to insert image and send to back</a:t>
            </a:r>
          </a:p>
        </p:txBody>
      </p:sp>
      <p:sp>
        <p:nvSpPr>
          <p:cNvPr id="7" name="Text Placeholder 5">
            <a:extLst>
              <a:ext uri="{FF2B5EF4-FFF2-40B4-BE49-F238E27FC236}">
                <a16:creationId xmlns:a16="http://schemas.microsoft.com/office/drawing/2014/main" id="{93CA596A-04A7-29EE-B0B9-1066D209C527}"/>
              </a:ext>
            </a:extLst>
          </p:cNvPr>
          <p:cNvSpPr>
            <a:spLocks noGrp="1" noChangeAspect="1"/>
          </p:cNvSpPr>
          <p:nvPr>
            <p:ph type="body" sz="quarter" idx="36"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8" name="Picture Placeholder 9">
            <a:extLst>
              <a:ext uri="{FF2B5EF4-FFF2-40B4-BE49-F238E27FC236}">
                <a16:creationId xmlns:a16="http://schemas.microsoft.com/office/drawing/2014/main" id="{652656E1-7D8E-7137-A96A-54685DA6DB21}"/>
              </a:ext>
            </a:extLst>
          </p:cNvPr>
          <p:cNvSpPr>
            <a:spLocks noGrp="1"/>
          </p:cNvSpPr>
          <p:nvPr>
            <p:ph type="pic" sz="quarter" idx="43" hasCustomPrompt="1"/>
          </p:nvPr>
        </p:nvSpPr>
        <p:spPr>
          <a:xfrm>
            <a:off x="479425" y="682907"/>
            <a:ext cx="5562560" cy="5426332"/>
          </a:xfrm>
          <a:prstGeom prst="ellipse">
            <a:avLst/>
          </a:prstGeom>
          <a:solidFill>
            <a:schemeClr val="tx1"/>
          </a:solidFill>
        </p:spPr>
        <p:txBody>
          <a:bodyPr wrap="square" anchor="ctr" anchorCtr="1">
            <a:noAutofit/>
          </a:bodyPr>
          <a:lstStyle>
            <a:lvl1pPr>
              <a:defRPr/>
            </a:lvl1pPr>
          </a:lstStyle>
          <a:p>
            <a:r>
              <a:rPr lang="en-US"/>
              <a:t> </a:t>
            </a:r>
            <a:endParaRPr lang="en-AU"/>
          </a:p>
        </p:txBody>
      </p:sp>
      <p:sp>
        <p:nvSpPr>
          <p:cNvPr id="4" name="Text Placeholder 3">
            <a:extLst>
              <a:ext uri="{FF2B5EF4-FFF2-40B4-BE49-F238E27FC236}">
                <a16:creationId xmlns:a16="http://schemas.microsoft.com/office/drawing/2014/main" id="{FE922B95-3104-186F-3C06-CBA98E49534F}"/>
              </a:ext>
            </a:extLst>
          </p:cNvPr>
          <p:cNvSpPr>
            <a:spLocks noGrp="1"/>
          </p:cNvSpPr>
          <p:nvPr>
            <p:ph type="body" sz="quarter" idx="29"/>
          </p:nvPr>
        </p:nvSpPr>
        <p:spPr>
          <a:xfrm>
            <a:off x="1386840" y="2529840"/>
            <a:ext cx="3713480" cy="2870200"/>
          </a:xfrm>
        </p:spPr>
        <p:txBody>
          <a:bodyPr/>
          <a:lstStyle>
            <a:lvl1pPr>
              <a:defRPr sz="2200" b="1" i="0">
                <a:solidFill>
                  <a:schemeClr val="bg1"/>
                </a:solidFill>
                <a:latin typeface="+mj-lt"/>
              </a:defRPr>
            </a:lvl1pPr>
            <a:lvl2pPr marL="0" indent="0" algn="r">
              <a:buNone/>
              <a:defRPr b="0">
                <a:solidFill>
                  <a:schemeClr val="bg1"/>
                </a:solidFill>
              </a:defRPr>
            </a:lvl2pPr>
          </a:lstStyle>
          <a:p>
            <a:pPr lvl="0"/>
            <a:r>
              <a:rPr lang="en-US"/>
              <a:t>Click to edit Master text styles</a:t>
            </a:r>
          </a:p>
          <a:p>
            <a:pPr lvl="1"/>
            <a:r>
              <a:rPr lang="en-US"/>
              <a:t>Second level</a:t>
            </a:r>
          </a:p>
        </p:txBody>
      </p:sp>
      <p:sp>
        <p:nvSpPr>
          <p:cNvPr id="9" name="Text Placeholder 3">
            <a:extLst>
              <a:ext uri="{FF2B5EF4-FFF2-40B4-BE49-F238E27FC236}">
                <a16:creationId xmlns:a16="http://schemas.microsoft.com/office/drawing/2014/main" id="{82C0D05C-470A-27EF-8734-874D5931B6C0}"/>
              </a:ext>
            </a:extLst>
          </p:cNvPr>
          <p:cNvSpPr>
            <a:spLocks noGrp="1"/>
          </p:cNvSpPr>
          <p:nvPr>
            <p:ph type="body" sz="quarter" idx="30" hasCustomPrompt="1"/>
          </p:nvPr>
        </p:nvSpPr>
        <p:spPr>
          <a:xfrm>
            <a:off x="1037654" y="2245360"/>
            <a:ext cx="349186" cy="467359"/>
          </a:xfrm>
        </p:spPr>
        <p:txBody>
          <a:bodyPr/>
          <a:lstStyle>
            <a:lvl1pPr>
              <a:defRPr sz="7200" i="0">
                <a:solidFill>
                  <a:schemeClr val="bg1"/>
                </a:solidFill>
                <a:latin typeface="+mj-lt"/>
              </a:defRPr>
            </a:lvl1pPr>
            <a:lvl2pPr algn="r">
              <a:defRPr b="1">
                <a:solidFill>
                  <a:schemeClr val="bg1"/>
                </a:solidFill>
              </a:defRPr>
            </a:lvl2pPr>
          </a:lstStyle>
          <a:p>
            <a:pPr lvl="0"/>
            <a:r>
              <a:rPr lang="en-US"/>
              <a:t>“</a:t>
            </a:r>
          </a:p>
        </p:txBody>
      </p:sp>
    </p:spTree>
    <p:extLst>
      <p:ext uri="{BB962C8B-B14F-4D97-AF65-F5344CB8AC3E}">
        <p14:creationId xmlns:p14="http://schemas.microsoft.com/office/powerpoint/2010/main" val="2258530347"/>
      </p:ext>
    </p:extLst>
  </p:cSld>
  <p:clrMapOvr>
    <a:masterClrMapping/>
  </p:clrMapOvr>
  <p:extLst>
    <p:ext uri="{DCECCB84-F9BA-43D5-87BE-67443E8EF086}">
      <p15:sldGuideLst xmlns:p15="http://schemas.microsoft.com/office/powerpoint/2012/main">
        <p15:guide id="1" pos="2512">
          <p15:clr>
            <a:srgbClr val="FBAE40"/>
          </p15:clr>
        </p15:guide>
        <p15:guide id="2" pos="2816">
          <p15:clr>
            <a:srgbClr val="FBAE40"/>
          </p15:clr>
        </p15:guide>
        <p15:guide id="3" pos="4872">
          <p15:clr>
            <a:srgbClr val="FBAE40"/>
          </p15:clr>
        </p15:guide>
        <p15:guide id="4" pos="517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2_Hell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11867A0-8BD8-39FE-0A5D-B5B294E0053F}"/>
              </a:ext>
            </a:extLst>
          </p:cNvPr>
          <p:cNvSpPr>
            <a:spLocks noGrp="1"/>
          </p:cNvSpPr>
          <p:nvPr>
            <p:ph type="pic" sz="quarter" idx="34" hasCustomPrompt="1"/>
          </p:nvPr>
        </p:nvSpPr>
        <p:spPr>
          <a:xfrm>
            <a:off x="0" y="136799"/>
            <a:ext cx="12204000" cy="6721201"/>
          </a:xfrm>
          <a:custGeom>
            <a:avLst/>
            <a:gdLst>
              <a:gd name="connsiteX0" fmla="*/ 0 w 12204000"/>
              <a:gd name="connsiteY0" fmla="*/ 0 h 6721201"/>
              <a:gd name="connsiteX1" fmla="*/ 12192000 w 12204000"/>
              <a:gd name="connsiteY1" fmla="*/ 0 h 6721201"/>
              <a:gd name="connsiteX2" fmla="*/ 12192000 w 12204000"/>
              <a:gd name="connsiteY2" fmla="*/ 51162 h 6721201"/>
              <a:gd name="connsiteX3" fmla="*/ 12194123 w 12204000"/>
              <a:gd name="connsiteY3" fmla="*/ 51162 h 6721201"/>
              <a:gd name="connsiteX4" fmla="*/ 12194123 w 12204000"/>
              <a:gd name="connsiteY4" fmla="*/ 4153272 h 6721201"/>
              <a:gd name="connsiteX5" fmla="*/ 12204000 w 12204000"/>
              <a:gd name="connsiteY5" fmla="*/ 4153272 h 6721201"/>
              <a:gd name="connsiteX6" fmla="*/ 12204000 w 12204000"/>
              <a:gd name="connsiteY6" fmla="*/ 6714732 h 6721201"/>
              <a:gd name="connsiteX7" fmla="*/ 12194123 w 12204000"/>
              <a:gd name="connsiteY7" fmla="*/ 6714732 h 6721201"/>
              <a:gd name="connsiteX8" fmla="*/ 12194123 w 12204000"/>
              <a:gd name="connsiteY8" fmla="*/ 6721201 h 6721201"/>
              <a:gd name="connsiteX9" fmla="*/ 0 w 12204000"/>
              <a:gd name="connsiteY9" fmla="*/ 6721201 h 6721201"/>
              <a:gd name="connsiteX10" fmla="*/ 0 w 12204000"/>
              <a:gd name="connsiteY10" fmla="*/ 471213 h 6721201"/>
              <a:gd name="connsiteX11" fmla="*/ 0 w 12204000"/>
              <a:gd name="connsiteY11" fmla="*/ 51162 h 672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4000" h="6721201">
                <a:moveTo>
                  <a:pt x="0" y="0"/>
                </a:moveTo>
                <a:lnTo>
                  <a:pt x="12192000" y="0"/>
                </a:lnTo>
                <a:lnTo>
                  <a:pt x="12192000" y="51162"/>
                </a:lnTo>
                <a:lnTo>
                  <a:pt x="12194123" y="51162"/>
                </a:lnTo>
                <a:lnTo>
                  <a:pt x="12194123" y="4153272"/>
                </a:lnTo>
                <a:lnTo>
                  <a:pt x="12204000" y="4153272"/>
                </a:lnTo>
                <a:lnTo>
                  <a:pt x="12204000" y="6714732"/>
                </a:lnTo>
                <a:lnTo>
                  <a:pt x="12194123" y="6714732"/>
                </a:lnTo>
                <a:lnTo>
                  <a:pt x="12194123" y="6721201"/>
                </a:lnTo>
                <a:lnTo>
                  <a:pt x="0" y="6721201"/>
                </a:lnTo>
                <a:lnTo>
                  <a:pt x="0" y="471213"/>
                </a:lnTo>
                <a:lnTo>
                  <a:pt x="0" y="51162"/>
                </a:lnTo>
                <a:close/>
              </a:path>
            </a:pathLst>
          </a:custGeom>
          <a:solidFill>
            <a:schemeClr val="bg1">
              <a:lumMod val="95000"/>
            </a:schemeClr>
          </a:solidFill>
        </p:spPr>
        <p:txBody>
          <a:bodyPr wrap="square" lIns="0" rIns="0" anchor="b" anchorCtr="1">
            <a:noAutofit/>
          </a:bodyPr>
          <a:lstStyle>
            <a:lvl1pPr algn="ctr">
              <a:defRPr/>
            </a:lvl1pPr>
          </a:lstStyle>
          <a:p>
            <a:r>
              <a:rPr lang="en-AU"/>
              <a:t>Click on icon to insert image and send to back</a:t>
            </a:r>
          </a:p>
        </p:txBody>
      </p:sp>
      <p:sp>
        <p:nvSpPr>
          <p:cNvPr id="39" name="Text Placeholder 38">
            <a:extLst>
              <a:ext uri="{FF2B5EF4-FFF2-40B4-BE49-F238E27FC236}">
                <a16:creationId xmlns:a16="http://schemas.microsoft.com/office/drawing/2014/main" id="{56389369-8C5C-4567-A3BE-CD8E2B052ABB}"/>
              </a:ext>
            </a:extLst>
          </p:cNvPr>
          <p:cNvSpPr>
            <a:spLocks noGrp="1"/>
          </p:cNvSpPr>
          <p:nvPr>
            <p:ph type="body" sz="quarter" idx="37" hasCustomPrompt="1"/>
          </p:nvPr>
        </p:nvSpPr>
        <p:spPr>
          <a:xfrm>
            <a:off x="950590" y="1545587"/>
            <a:ext cx="10188000" cy="3636000"/>
          </a:xfrm>
          <a:custGeom>
            <a:avLst/>
            <a:gdLst>
              <a:gd name="connsiteX0" fmla="*/ 3019215 w 10188000"/>
              <a:gd name="connsiteY0" fmla="*/ 2258992 h 3636000"/>
              <a:gd name="connsiteX1" fmla="*/ 3019227 w 10188000"/>
              <a:gd name="connsiteY1" fmla="*/ 2259147 h 3636000"/>
              <a:gd name="connsiteX2" fmla="*/ 3019215 w 10188000"/>
              <a:gd name="connsiteY2" fmla="*/ 2259298 h 3636000"/>
              <a:gd name="connsiteX3" fmla="*/ 4312861 w 10188000"/>
              <a:gd name="connsiteY3" fmla="*/ 1499464 h 3636000"/>
              <a:gd name="connsiteX4" fmla="*/ 3802163 w 10188000"/>
              <a:gd name="connsiteY4" fmla="*/ 1992652 h 3636000"/>
              <a:gd name="connsiteX5" fmla="*/ 4784622 w 10188000"/>
              <a:gd name="connsiteY5" fmla="*/ 1992652 h 3636000"/>
              <a:gd name="connsiteX6" fmla="*/ 4312861 w 10188000"/>
              <a:gd name="connsiteY6" fmla="*/ 1499464 h 3636000"/>
              <a:gd name="connsiteX7" fmla="*/ 4298372 w 10188000"/>
              <a:gd name="connsiteY7" fmla="*/ 927291 h 3636000"/>
              <a:gd name="connsiteX8" fmla="*/ 5149536 w 10188000"/>
              <a:gd name="connsiteY8" fmla="*/ 1242919 h 3636000"/>
              <a:gd name="connsiteX9" fmla="*/ 5587190 w 10188000"/>
              <a:gd name="connsiteY9" fmla="*/ 2471146 h 3636000"/>
              <a:gd name="connsiteX10" fmla="*/ 3797333 w 10188000"/>
              <a:gd name="connsiteY10" fmla="*/ 2471146 h 3636000"/>
              <a:gd name="connsiteX11" fmla="*/ 4356626 w 10188000"/>
              <a:gd name="connsiteY11" fmla="*/ 3023724 h 3636000"/>
              <a:gd name="connsiteX12" fmla="*/ 4770134 w 10188000"/>
              <a:gd name="connsiteY12" fmla="*/ 2772079 h 3636000"/>
              <a:gd name="connsiteX13" fmla="*/ 5543425 w 10188000"/>
              <a:gd name="connsiteY13" fmla="*/ 2772079 h 3636000"/>
              <a:gd name="connsiteX14" fmla="*/ 5125087 w 10188000"/>
              <a:gd name="connsiteY14" fmla="*/ 3369048 h 3636000"/>
              <a:gd name="connsiteX15" fmla="*/ 4346967 w 10188000"/>
              <a:gd name="connsiteY15" fmla="*/ 3600794 h 3636000"/>
              <a:gd name="connsiteX16" fmla="*/ 3042556 w 10188000"/>
              <a:gd name="connsiteY16" fmla="*/ 2536209 h 3636000"/>
              <a:gd name="connsiteX17" fmla="*/ 3019227 w 10188000"/>
              <a:gd name="connsiteY17" fmla="*/ 2259147 h 3636000"/>
              <a:gd name="connsiteX18" fmla="*/ 3043055 w 10188000"/>
              <a:gd name="connsiteY18" fmla="*/ 1985401 h 3636000"/>
              <a:gd name="connsiteX19" fmla="*/ 4298372 w 10188000"/>
              <a:gd name="connsiteY19" fmla="*/ 927291 h 3636000"/>
              <a:gd name="connsiteX20" fmla="*/ 8844551 w 10188000"/>
              <a:gd name="connsiteY20" fmla="*/ 910760 h 3636000"/>
              <a:gd name="connsiteX21" fmla="*/ 10188000 w 10188000"/>
              <a:gd name="connsiteY21" fmla="*/ 2273381 h 3636000"/>
              <a:gd name="connsiteX22" fmla="*/ 8844551 w 10188000"/>
              <a:gd name="connsiteY22" fmla="*/ 3636000 h 3636000"/>
              <a:gd name="connsiteX23" fmla="*/ 7501101 w 10188000"/>
              <a:gd name="connsiteY23" fmla="*/ 2273381 h 3636000"/>
              <a:gd name="connsiteX24" fmla="*/ 8844551 w 10188000"/>
              <a:gd name="connsiteY24" fmla="*/ 910760 h 3636000"/>
              <a:gd name="connsiteX25" fmla="*/ 6602851 w 10188000"/>
              <a:gd name="connsiteY25" fmla="*/ 0 h 3636000"/>
              <a:gd name="connsiteX26" fmla="*/ 7405420 w 10188000"/>
              <a:gd name="connsiteY26" fmla="*/ 0 h 3636000"/>
              <a:gd name="connsiteX27" fmla="*/ 7405420 w 10188000"/>
              <a:gd name="connsiteY27" fmla="*/ 3527015 h 3636000"/>
              <a:gd name="connsiteX28" fmla="*/ 6602851 w 10188000"/>
              <a:gd name="connsiteY28" fmla="*/ 3527015 h 3636000"/>
              <a:gd name="connsiteX29" fmla="*/ 5680759 w 10188000"/>
              <a:gd name="connsiteY29" fmla="*/ 0 h 3636000"/>
              <a:gd name="connsiteX30" fmla="*/ 6483327 w 10188000"/>
              <a:gd name="connsiteY30" fmla="*/ 0 h 3636000"/>
              <a:gd name="connsiteX31" fmla="*/ 6483327 w 10188000"/>
              <a:gd name="connsiteY31" fmla="*/ 3527015 h 3636000"/>
              <a:gd name="connsiteX32" fmla="*/ 5680759 w 10188000"/>
              <a:gd name="connsiteY32" fmla="*/ 3527015 h 3636000"/>
              <a:gd name="connsiteX33" fmla="*/ 0 w 10188000"/>
              <a:gd name="connsiteY33" fmla="*/ 0 h 3636000"/>
              <a:gd name="connsiteX34" fmla="*/ 860823 w 10188000"/>
              <a:gd name="connsiteY34" fmla="*/ 0 h 3636000"/>
              <a:gd name="connsiteX35" fmla="*/ 860823 w 10188000"/>
              <a:gd name="connsiteY35" fmla="*/ 1336904 h 3636000"/>
              <a:gd name="connsiteX36" fmla="*/ 2081426 w 10188000"/>
              <a:gd name="connsiteY36" fmla="*/ 1336904 h 3636000"/>
              <a:gd name="connsiteX37" fmla="*/ 2081426 w 10188000"/>
              <a:gd name="connsiteY37" fmla="*/ 0 h 3636000"/>
              <a:gd name="connsiteX38" fmla="*/ 2942549 w 10188000"/>
              <a:gd name="connsiteY38" fmla="*/ 0 h 3636000"/>
              <a:gd name="connsiteX39" fmla="*/ 2942549 w 10188000"/>
              <a:gd name="connsiteY39" fmla="*/ 3527015 h 3636000"/>
              <a:gd name="connsiteX40" fmla="*/ 2081426 w 10188000"/>
              <a:gd name="connsiteY40" fmla="*/ 3527015 h 3636000"/>
              <a:gd name="connsiteX41" fmla="*/ 2081426 w 10188000"/>
              <a:gd name="connsiteY41" fmla="*/ 2056941 h 3636000"/>
              <a:gd name="connsiteX42" fmla="*/ 860823 w 10188000"/>
              <a:gd name="connsiteY42" fmla="*/ 2056941 h 3636000"/>
              <a:gd name="connsiteX43" fmla="*/ 860823 w 10188000"/>
              <a:gd name="connsiteY43" fmla="*/ 3527015 h 3636000"/>
              <a:gd name="connsiteX44" fmla="*/ 0 w 10188000"/>
              <a:gd name="connsiteY44" fmla="*/ 3527015 h 36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188000" h="3636000">
                <a:moveTo>
                  <a:pt x="3019215" y="2258992"/>
                </a:moveTo>
                <a:lnTo>
                  <a:pt x="3019227" y="2259147"/>
                </a:lnTo>
                <a:lnTo>
                  <a:pt x="3019215" y="2259298"/>
                </a:lnTo>
                <a:close/>
                <a:moveTo>
                  <a:pt x="4312861" y="1499464"/>
                </a:moveTo>
                <a:cubicBezTo>
                  <a:pt x="4011331" y="1499464"/>
                  <a:pt x="3855586" y="1691718"/>
                  <a:pt x="3802163" y="1992652"/>
                </a:cubicBezTo>
                <a:lnTo>
                  <a:pt x="4784622" y="1992652"/>
                </a:lnTo>
                <a:cubicBezTo>
                  <a:pt x="4755345" y="1691718"/>
                  <a:pt x="4570623" y="1499464"/>
                  <a:pt x="4312861" y="1499464"/>
                </a:cubicBezTo>
                <a:close/>
                <a:moveTo>
                  <a:pt x="4298372" y="927291"/>
                </a:moveTo>
                <a:cubicBezTo>
                  <a:pt x="4653326" y="927291"/>
                  <a:pt x="4935538" y="1045766"/>
                  <a:pt x="5149536" y="1242919"/>
                </a:cubicBezTo>
                <a:cubicBezTo>
                  <a:pt x="5446236" y="1519056"/>
                  <a:pt x="5592020" y="1958057"/>
                  <a:pt x="5587190" y="2471146"/>
                </a:cubicBezTo>
                <a:lnTo>
                  <a:pt x="3797333" y="2471146"/>
                </a:lnTo>
                <a:cubicBezTo>
                  <a:pt x="3845928" y="2811571"/>
                  <a:pt x="4030648" y="3023724"/>
                  <a:pt x="4356626" y="3023724"/>
                </a:cubicBezTo>
                <a:cubicBezTo>
                  <a:pt x="4565795" y="3023724"/>
                  <a:pt x="4701920" y="2930046"/>
                  <a:pt x="4770134" y="2772079"/>
                </a:cubicBezTo>
                <a:lnTo>
                  <a:pt x="5543425" y="2772079"/>
                </a:lnTo>
                <a:cubicBezTo>
                  <a:pt x="5490001" y="2998927"/>
                  <a:pt x="5343915" y="3215979"/>
                  <a:pt x="5125087" y="3369048"/>
                </a:cubicBezTo>
                <a:cubicBezTo>
                  <a:pt x="4915918" y="3516912"/>
                  <a:pt x="4662984" y="3600794"/>
                  <a:pt x="4346967" y="3600794"/>
                </a:cubicBezTo>
                <a:cubicBezTo>
                  <a:pt x="3627818" y="3600794"/>
                  <a:pt x="3150619" y="3158975"/>
                  <a:pt x="3042556" y="2536209"/>
                </a:cubicBezTo>
                <a:lnTo>
                  <a:pt x="3019227" y="2259147"/>
                </a:lnTo>
                <a:lnTo>
                  <a:pt x="3043055" y="1985401"/>
                </a:lnTo>
                <a:cubicBezTo>
                  <a:pt x="3153029" y="1369346"/>
                  <a:pt x="3634420" y="927291"/>
                  <a:pt x="4298372" y="927291"/>
                </a:cubicBezTo>
                <a:close/>
                <a:moveTo>
                  <a:pt x="8844551" y="910760"/>
                </a:moveTo>
                <a:cubicBezTo>
                  <a:pt x="9586450" y="910760"/>
                  <a:pt x="10188000" y="1520893"/>
                  <a:pt x="10188000" y="2273381"/>
                </a:cubicBezTo>
                <a:cubicBezTo>
                  <a:pt x="10188000" y="3025867"/>
                  <a:pt x="9586450" y="3636000"/>
                  <a:pt x="8844551" y="3636000"/>
                </a:cubicBezTo>
                <a:cubicBezTo>
                  <a:pt x="8102651" y="3636000"/>
                  <a:pt x="7501101" y="3025867"/>
                  <a:pt x="7501101" y="2273381"/>
                </a:cubicBezTo>
                <a:cubicBezTo>
                  <a:pt x="7501101" y="1520893"/>
                  <a:pt x="8102651" y="910760"/>
                  <a:pt x="8844551" y="910760"/>
                </a:cubicBezTo>
                <a:close/>
                <a:moveTo>
                  <a:pt x="6602851" y="0"/>
                </a:moveTo>
                <a:lnTo>
                  <a:pt x="7405420" y="0"/>
                </a:lnTo>
                <a:lnTo>
                  <a:pt x="7405420" y="3527015"/>
                </a:lnTo>
                <a:lnTo>
                  <a:pt x="6602851" y="3527015"/>
                </a:lnTo>
                <a:close/>
                <a:moveTo>
                  <a:pt x="5680759" y="0"/>
                </a:moveTo>
                <a:lnTo>
                  <a:pt x="6483327" y="0"/>
                </a:lnTo>
                <a:lnTo>
                  <a:pt x="6483327" y="3527015"/>
                </a:lnTo>
                <a:lnTo>
                  <a:pt x="5680759" y="3527015"/>
                </a:lnTo>
                <a:close/>
                <a:moveTo>
                  <a:pt x="0" y="0"/>
                </a:moveTo>
                <a:lnTo>
                  <a:pt x="860823" y="0"/>
                </a:lnTo>
                <a:lnTo>
                  <a:pt x="860823" y="1336904"/>
                </a:lnTo>
                <a:lnTo>
                  <a:pt x="2081426" y="1336904"/>
                </a:lnTo>
                <a:lnTo>
                  <a:pt x="2081426" y="0"/>
                </a:lnTo>
                <a:lnTo>
                  <a:pt x="2942549" y="0"/>
                </a:lnTo>
                <a:lnTo>
                  <a:pt x="2942549" y="3527015"/>
                </a:lnTo>
                <a:lnTo>
                  <a:pt x="2081426" y="3527015"/>
                </a:lnTo>
                <a:lnTo>
                  <a:pt x="2081426" y="2056941"/>
                </a:lnTo>
                <a:lnTo>
                  <a:pt x="860823" y="2056941"/>
                </a:lnTo>
                <a:lnTo>
                  <a:pt x="860823" y="3527015"/>
                </a:lnTo>
                <a:lnTo>
                  <a:pt x="0" y="3527015"/>
                </a:lnTo>
                <a:close/>
              </a:path>
            </a:pathLst>
          </a:custGeom>
          <a:solidFill>
            <a:schemeClr val="bg1"/>
          </a:solidFill>
        </p:spPr>
        <p:txBody>
          <a:bodyPr wrap="square">
            <a:noAutofit/>
          </a:bodyPr>
          <a:lstStyle>
            <a:lvl1pPr>
              <a:defRPr/>
            </a:lvl1pPr>
          </a:lstStyle>
          <a:p>
            <a:pPr lvl="0"/>
            <a:r>
              <a:rPr lang="en-US"/>
              <a:t> </a:t>
            </a:r>
            <a:endParaRPr lang="en-AU"/>
          </a:p>
        </p:txBody>
      </p:sp>
      <p:sp>
        <p:nvSpPr>
          <p:cNvPr id="41" name="Content Placeholder 40">
            <a:extLst>
              <a:ext uri="{FF2B5EF4-FFF2-40B4-BE49-F238E27FC236}">
                <a16:creationId xmlns:a16="http://schemas.microsoft.com/office/drawing/2014/main" id="{E4A7304B-3E1C-436F-4780-88E0FB0E736B}"/>
              </a:ext>
            </a:extLst>
          </p:cNvPr>
          <p:cNvSpPr>
            <a:spLocks noGrp="1"/>
          </p:cNvSpPr>
          <p:nvPr>
            <p:ph sz="quarter" idx="38" hasCustomPrompt="1"/>
          </p:nvPr>
        </p:nvSpPr>
        <p:spPr>
          <a:xfrm flipH="1">
            <a:off x="8727440" y="3322320"/>
            <a:ext cx="2219960" cy="949325"/>
          </a:xfrm>
        </p:spPr>
        <p:txBody>
          <a:bodyPr/>
          <a:lstStyle>
            <a:lvl1pPr algn="ctr">
              <a:defRPr>
                <a:solidFill>
                  <a:schemeClr val="tx1"/>
                </a:solidFill>
              </a:defRPr>
            </a:lvl1pPr>
          </a:lstStyle>
          <a:p>
            <a:pPr lvl="0"/>
            <a:r>
              <a:rPr lang="en-US"/>
              <a:t>Black logo here</a:t>
            </a:r>
            <a:endParaRPr lang="en-AU"/>
          </a:p>
        </p:txBody>
      </p:sp>
      <p:sp>
        <p:nvSpPr>
          <p:cNvPr id="2" name="Title 1">
            <a:extLst>
              <a:ext uri="{FF2B5EF4-FFF2-40B4-BE49-F238E27FC236}">
                <a16:creationId xmlns:a16="http://schemas.microsoft.com/office/drawing/2014/main" id="{0091DDEC-0501-D7B8-5F3B-C0481BE68210}"/>
              </a:ext>
            </a:extLst>
          </p:cNvPr>
          <p:cNvSpPr>
            <a:spLocks noGrp="1"/>
          </p:cNvSpPr>
          <p:nvPr>
            <p:ph type="ctrTitle" hasCustomPrompt="1"/>
          </p:nvPr>
        </p:nvSpPr>
        <p:spPr>
          <a:xfrm>
            <a:off x="916305" y="5497576"/>
            <a:ext cx="10796270" cy="395224"/>
          </a:xfrm>
        </p:spPr>
        <p:txBody>
          <a:bodyPr anchor="t" anchorCtr="0"/>
          <a:lstStyle>
            <a:lvl1pPr algn="l">
              <a:defRPr sz="3000">
                <a:solidFill>
                  <a:schemeClr val="bg1"/>
                </a:solidFill>
              </a:defRPr>
            </a:lvl1pPr>
          </a:lstStyle>
          <a:p>
            <a:r>
              <a:rPr lang="en-AU"/>
              <a:t>Title goes here</a:t>
            </a:r>
          </a:p>
        </p:txBody>
      </p:sp>
      <p:sp>
        <p:nvSpPr>
          <p:cNvPr id="3" name="Subtitle 2">
            <a:extLst>
              <a:ext uri="{FF2B5EF4-FFF2-40B4-BE49-F238E27FC236}">
                <a16:creationId xmlns:a16="http://schemas.microsoft.com/office/drawing/2014/main" id="{6DB7F3CF-EEDB-C3E2-32A8-5EFB581E33CD}"/>
              </a:ext>
            </a:extLst>
          </p:cNvPr>
          <p:cNvSpPr>
            <a:spLocks noGrp="1"/>
          </p:cNvSpPr>
          <p:nvPr>
            <p:ph type="subTitle" idx="1" hasCustomPrompt="1"/>
          </p:nvPr>
        </p:nvSpPr>
        <p:spPr>
          <a:xfrm>
            <a:off x="916305" y="5976747"/>
            <a:ext cx="3600000" cy="252000"/>
          </a:xfrm>
        </p:spPr>
        <p:txBody>
          <a:bodyPr/>
          <a:lstStyle>
            <a:lvl1pPr marL="0" indent="0" algn="l">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AU"/>
          </a:p>
        </p:txBody>
      </p:sp>
      <p:sp>
        <p:nvSpPr>
          <p:cNvPr id="25" name="Text Placeholder 23">
            <a:extLst>
              <a:ext uri="{FF2B5EF4-FFF2-40B4-BE49-F238E27FC236}">
                <a16:creationId xmlns:a16="http://schemas.microsoft.com/office/drawing/2014/main" id="{1FE731C3-8128-7CC9-181E-1EE52468E737}"/>
              </a:ext>
            </a:extLst>
          </p:cNvPr>
          <p:cNvSpPr>
            <a:spLocks noGrp="1"/>
          </p:cNvSpPr>
          <p:nvPr>
            <p:ph type="body" sz="quarter" idx="35" hasCustomPrompt="1"/>
          </p:nvPr>
        </p:nvSpPr>
        <p:spPr>
          <a:xfrm>
            <a:off x="903343" y="947722"/>
            <a:ext cx="2318400" cy="4572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Tree>
    <p:extLst>
      <p:ext uri="{BB962C8B-B14F-4D97-AF65-F5344CB8AC3E}">
        <p14:creationId xmlns:p14="http://schemas.microsoft.com/office/powerpoint/2010/main" val="16336976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e 2">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9FC0BF16-A757-207A-85C2-C07639A27DDF}"/>
              </a:ext>
            </a:extLst>
          </p:cNvPr>
          <p:cNvSpPr>
            <a:spLocks noGrp="1"/>
          </p:cNvSpPr>
          <p:nvPr>
            <p:ph type="pic" sz="quarter" idx="25" hasCustomPrompt="1"/>
          </p:nvPr>
        </p:nvSpPr>
        <p:spPr>
          <a:xfrm>
            <a:off x="0" y="0"/>
            <a:ext cx="12192000" cy="6858000"/>
          </a:xfrm>
          <a:prstGeom prst="rect">
            <a:avLst/>
          </a:prstGeom>
          <a:solidFill>
            <a:schemeClr val="bg1">
              <a:lumMod val="95000"/>
            </a:schemeClr>
          </a:solidFill>
        </p:spPr>
        <p:txBody>
          <a:bodyPr wrap="square">
            <a:noAutofit/>
          </a:bodyPr>
          <a:lstStyle>
            <a:lvl1pPr algn="ctr">
              <a:defRPr/>
            </a:lvl1pPr>
          </a:lstStyle>
          <a:p>
            <a:r>
              <a:rPr lang="en-AU"/>
              <a:t>Click on icon to insert image and send to back</a:t>
            </a:r>
          </a:p>
        </p:txBody>
      </p:sp>
      <p:sp>
        <p:nvSpPr>
          <p:cNvPr id="5" name="Text Placeholder 5">
            <a:extLst>
              <a:ext uri="{FF2B5EF4-FFF2-40B4-BE49-F238E27FC236}">
                <a16:creationId xmlns:a16="http://schemas.microsoft.com/office/drawing/2014/main" id="{F1FD21D7-01CD-A486-F248-3496B94BB9A5}"/>
              </a:ext>
            </a:extLst>
          </p:cNvPr>
          <p:cNvSpPr>
            <a:spLocks noGrp="1" noChangeAspect="1"/>
          </p:cNvSpPr>
          <p:nvPr>
            <p:ph type="body" sz="quarter" idx="36" hasCustomPrompt="1"/>
          </p:nvPr>
        </p:nvSpPr>
        <p:spPr>
          <a:xfrm>
            <a:off x="10873321" y="6170930"/>
            <a:ext cx="825600" cy="288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endParaRPr lang="en-AU"/>
          </a:p>
        </p:txBody>
      </p:sp>
      <p:sp>
        <p:nvSpPr>
          <p:cNvPr id="11" name="Picture Placeholder 9">
            <a:extLst>
              <a:ext uri="{FF2B5EF4-FFF2-40B4-BE49-F238E27FC236}">
                <a16:creationId xmlns:a16="http://schemas.microsoft.com/office/drawing/2014/main" id="{C44259B8-932C-8282-85B5-92BD5A4AB37E}"/>
              </a:ext>
            </a:extLst>
          </p:cNvPr>
          <p:cNvSpPr>
            <a:spLocks noGrp="1"/>
          </p:cNvSpPr>
          <p:nvPr>
            <p:ph type="pic" sz="quarter" idx="43" hasCustomPrompt="1"/>
          </p:nvPr>
        </p:nvSpPr>
        <p:spPr>
          <a:xfrm>
            <a:off x="479425" y="682907"/>
            <a:ext cx="5562560" cy="5426332"/>
          </a:xfrm>
          <a:prstGeom prst="ellipse">
            <a:avLst/>
          </a:prstGeom>
          <a:solidFill>
            <a:schemeClr val="bg1"/>
          </a:solidFill>
        </p:spPr>
        <p:txBody>
          <a:bodyPr wrap="square" anchor="ctr" anchorCtr="1">
            <a:noAutofit/>
          </a:bodyPr>
          <a:lstStyle>
            <a:lvl1pPr>
              <a:defRPr/>
            </a:lvl1pPr>
          </a:lstStyle>
          <a:p>
            <a:r>
              <a:rPr lang="en-US"/>
              <a:t> </a:t>
            </a:r>
            <a:endParaRPr lang="en-AU"/>
          </a:p>
        </p:txBody>
      </p:sp>
      <p:sp>
        <p:nvSpPr>
          <p:cNvPr id="12" name="Text Placeholder 3">
            <a:extLst>
              <a:ext uri="{FF2B5EF4-FFF2-40B4-BE49-F238E27FC236}">
                <a16:creationId xmlns:a16="http://schemas.microsoft.com/office/drawing/2014/main" id="{45AEFBE1-FF21-7C49-7D17-2F89FD4EF8AC}"/>
              </a:ext>
            </a:extLst>
          </p:cNvPr>
          <p:cNvSpPr>
            <a:spLocks noGrp="1"/>
          </p:cNvSpPr>
          <p:nvPr>
            <p:ph type="body" sz="quarter" idx="29"/>
          </p:nvPr>
        </p:nvSpPr>
        <p:spPr>
          <a:xfrm>
            <a:off x="1386840" y="2529840"/>
            <a:ext cx="3713480" cy="2870200"/>
          </a:xfrm>
        </p:spPr>
        <p:txBody>
          <a:bodyPr/>
          <a:lstStyle>
            <a:lvl1pPr>
              <a:defRPr sz="2200" b="1" i="0">
                <a:solidFill>
                  <a:schemeClr val="tx1"/>
                </a:solidFill>
                <a:latin typeface="+mj-lt"/>
              </a:defRPr>
            </a:lvl1pPr>
            <a:lvl2pPr marL="0" indent="0" algn="r">
              <a:buNone/>
              <a:defRPr b="0">
                <a:solidFill>
                  <a:schemeClr val="tx1"/>
                </a:solidFill>
              </a:defRPr>
            </a:lvl2pPr>
          </a:lstStyle>
          <a:p>
            <a:pPr lvl="0"/>
            <a:r>
              <a:rPr lang="en-US"/>
              <a:t>Click to edit Master text styles</a:t>
            </a:r>
          </a:p>
          <a:p>
            <a:pPr lvl="1"/>
            <a:r>
              <a:rPr lang="en-US"/>
              <a:t>Second level</a:t>
            </a:r>
          </a:p>
        </p:txBody>
      </p:sp>
      <p:sp>
        <p:nvSpPr>
          <p:cNvPr id="13" name="Text Placeholder 3">
            <a:extLst>
              <a:ext uri="{FF2B5EF4-FFF2-40B4-BE49-F238E27FC236}">
                <a16:creationId xmlns:a16="http://schemas.microsoft.com/office/drawing/2014/main" id="{043317A0-BB05-2259-EDCE-12E362AA1DB5}"/>
              </a:ext>
            </a:extLst>
          </p:cNvPr>
          <p:cNvSpPr>
            <a:spLocks noGrp="1"/>
          </p:cNvSpPr>
          <p:nvPr>
            <p:ph type="body" sz="quarter" idx="30" hasCustomPrompt="1"/>
          </p:nvPr>
        </p:nvSpPr>
        <p:spPr>
          <a:xfrm>
            <a:off x="1037654" y="2245360"/>
            <a:ext cx="349186" cy="467359"/>
          </a:xfrm>
        </p:spPr>
        <p:txBody>
          <a:bodyPr/>
          <a:lstStyle>
            <a:lvl1pPr>
              <a:defRPr sz="7200" i="0">
                <a:solidFill>
                  <a:schemeClr val="accent1"/>
                </a:solidFill>
                <a:latin typeface="+mj-lt"/>
              </a:defRPr>
            </a:lvl1pPr>
            <a:lvl2pPr algn="r">
              <a:defRPr b="1">
                <a:solidFill>
                  <a:schemeClr val="bg1"/>
                </a:solidFill>
              </a:defRPr>
            </a:lvl2pPr>
          </a:lstStyle>
          <a:p>
            <a:pPr lvl="0"/>
            <a:r>
              <a:rPr lang="en-US"/>
              <a:t>“</a:t>
            </a:r>
          </a:p>
        </p:txBody>
      </p:sp>
    </p:spTree>
    <p:extLst>
      <p:ext uri="{BB962C8B-B14F-4D97-AF65-F5344CB8AC3E}">
        <p14:creationId xmlns:p14="http://schemas.microsoft.com/office/powerpoint/2010/main" val="4175328893"/>
      </p:ext>
    </p:extLst>
  </p:cSld>
  <p:clrMapOvr>
    <a:masterClrMapping/>
  </p:clrMapOvr>
  <p:extLst>
    <p:ext uri="{DCECCB84-F9BA-43D5-87BE-67443E8EF086}">
      <p15:sldGuideLst xmlns:p15="http://schemas.microsoft.com/office/powerpoint/2012/main">
        <p15:guide id="1" pos="2512">
          <p15:clr>
            <a:srgbClr val="FBAE40"/>
          </p15:clr>
        </p15:guide>
        <p15:guide id="2" pos="2816">
          <p15:clr>
            <a:srgbClr val="FBAE40"/>
          </p15:clr>
        </p15:guide>
        <p15:guide id="3" pos="4872">
          <p15:clr>
            <a:srgbClr val="FBAE40"/>
          </p15:clr>
        </p15:guide>
        <p15:guide id="4" pos="517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ank you_1">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4964198-D302-9FAF-B96B-84DB79051B4B}"/>
              </a:ext>
            </a:extLst>
          </p:cNvPr>
          <p:cNvSpPr/>
          <p:nvPr/>
        </p:nvSpPr>
        <p:spPr>
          <a:xfrm>
            <a:off x="9410218" y="6041403"/>
            <a:ext cx="2417180" cy="521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Rectangle 2">
            <a:extLst>
              <a:ext uri="{FF2B5EF4-FFF2-40B4-BE49-F238E27FC236}">
                <a16:creationId xmlns:a16="http://schemas.microsoft.com/office/drawing/2014/main" id="{C266144A-AD99-C609-C29B-F62DD5F8652F}"/>
              </a:ext>
            </a:extLst>
          </p:cNvPr>
          <p:cNvSpPr/>
          <p:nvPr userDrawn="1"/>
        </p:nvSpPr>
        <p:spPr>
          <a:xfrm>
            <a:off x="9410218" y="6041403"/>
            <a:ext cx="2417180" cy="521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Picture 7" descr="Background pattern&#10;&#10;Description automatically generated">
            <a:extLst>
              <a:ext uri="{FF2B5EF4-FFF2-40B4-BE49-F238E27FC236}">
                <a16:creationId xmlns:a16="http://schemas.microsoft.com/office/drawing/2014/main" id="{AC79E20A-CA82-263D-9743-CB2C2E9490DA}"/>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0" y="204726"/>
            <a:ext cx="12192000" cy="6648194"/>
          </a:xfrm>
          <a:prstGeom prst="rect">
            <a:avLst/>
          </a:prstGeom>
        </p:spPr>
      </p:pic>
      <p:sp>
        <p:nvSpPr>
          <p:cNvPr id="2" name="Title 1">
            <a:extLst>
              <a:ext uri="{FF2B5EF4-FFF2-40B4-BE49-F238E27FC236}">
                <a16:creationId xmlns:a16="http://schemas.microsoft.com/office/drawing/2014/main" id="{CF9A0213-0E70-D87C-D460-5E293897683B}"/>
              </a:ext>
            </a:extLst>
          </p:cNvPr>
          <p:cNvSpPr>
            <a:spLocks noGrp="1"/>
          </p:cNvSpPr>
          <p:nvPr>
            <p:ph type="title" hasCustomPrompt="1"/>
          </p:nvPr>
        </p:nvSpPr>
        <p:spPr>
          <a:xfrm>
            <a:off x="479425" y="1689563"/>
            <a:ext cx="2555193" cy="1494091"/>
          </a:xfrm>
        </p:spPr>
        <p:txBody>
          <a:bodyPr/>
          <a:lstStyle>
            <a:lvl1pPr>
              <a:lnSpc>
                <a:spcPct val="100000"/>
              </a:lnSpc>
              <a:tabLst>
                <a:tab pos="896938" algn="l"/>
              </a:tabLst>
              <a:defRPr sz="3400">
                <a:solidFill>
                  <a:schemeClr val="tx1"/>
                </a:solidFill>
              </a:defRPr>
            </a:lvl1pPr>
          </a:lstStyle>
          <a:p>
            <a:r>
              <a:rPr lang="en-US"/>
              <a:t>Thank You</a:t>
            </a:r>
            <a:endParaRPr lang="en-AU"/>
          </a:p>
        </p:txBody>
      </p:sp>
      <p:sp>
        <p:nvSpPr>
          <p:cNvPr id="4" name="Text Placeholder 8">
            <a:extLst>
              <a:ext uri="{FF2B5EF4-FFF2-40B4-BE49-F238E27FC236}">
                <a16:creationId xmlns:a16="http://schemas.microsoft.com/office/drawing/2014/main" id="{49395E8C-2043-558C-DB8F-2BA0BAECC652}"/>
              </a:ext>
            </a:extLst>
          </p:cNvPr>
          <p:cNvSpPr>
            <a:spLocks noGrp="1"/>
          </p:cNvSpPr>
          <p:nvPr>
            <p:ph type="body" sz="quarter" idx="10" hasCustomPrompt="1"/>
          </p:nvPr>
        </p:nvSpPr>
        <p:spPr>
          <a:xfrm>
            <a:off x="479425" y="1481895"/>
            <a:ext cx="11268000" cy="10800"/>
          </a:xfrm>
          <a:solidFill>
            <a:schemeClr val="tx1"/>
          </a:solidFill>
        </p:spPr>
        <p:txBody>
          <a:bodyPr/>
          <a:lstStyle>
            <a:lvl1pPr>
              <a:defRPr/>
            </a:lvl1pPr>
          </a:lstStyle>
          <a:p>
            <a:pPr lvl="0"/>
            <a:r>
              <a:rPr lang="en-US"/>
              <a:t> </a:t>
            </a:r>
            <a:endParaRPr lang="en-AU"/>
          </a:p>
        </p:txBody>
      </p:sp>
      <p:sp>
        <p:nvSpPr>
          <p:cNvPr id="6" name="Text Placeholder 8">
            <a:extLst>
              <a:ext uri="{FF2B5EF4-FFF2-40B4-BE49-F238E27FC236}">
                <a16:creationId xmlns:a16="http://schemas.microsoft.com/office/drawing/2014/main" id="{FE20994F-CA5A-7773-0B6C-2EC812F04F46}"/>
              </a:ext>
            </a:extLst>
          </p:cNvPr>
          <p:cNvSpPr>
            <a:spLocks noGrp="1"/>
          </p:cNvSpPr>
          <p:nvPr>
            <p:ph type="body" sz="quarter" idx="11" hasCustomPrompt="1"/>
          </p:nvPr>
        </p:nvSpPr>
        <p:spPr>
          <a:xfrm>
            <a:off x="479425" y="3566727"/>
            <a:ext cx="11268000" cy="10800"/>
          </a:xfrm>
          <a:solidFill>
            <a:schemeClr val="tx1"/>
          </a:solidFill>
        </p:spPr>
        <p:txBody>
          <a:bodyPr/>
          <a:lstStyle>
            <a:lvl1pPr>
              <a:defRPr/>
            </a:lvl1pPr>
          </a:lstStyle>
          <a:p>
            <a:pPr lvl="0"/>
            <a:r>
              <a:rPr lang="en-US"/>
              <a:t> </a:t>
            </a:r>
            <a:endParaRPr lang="en-AU"/>
          </a:p>
        </p:txBody>
      </p:sp>
      <p:grpSp>
        <p:nvGrpSpPr>
          <p:cNvPr id="9" name="Graphic 12">
            <a:extLst>
              <a:ext uri="{FF2B5EF4-FFF2-40B4-BE49-F238E27FC236}">
                <a16:creationId xmlns:a16="http://schemas.microsoft.com/office/drawing/2014/main" id="{141CE47D-E12A-B71F-9166-4B57D2704E70}"/>
              </a:ext>
            </a:extLst>
          </p:cNvPr>
          <p:cNvGrpSpPr/>
          <p:nvPr/>
        </p:nvGrpSpPr>
        <p:grpSpPr>
          <a:xfrm>
            <a:off x="4406014" y="3950038"/>
            <a:ext cx="7306561" cy="2549145"/>
            <a:chOff x="544194" y="1803553"/>
            <a:chExt cx="11044607" cy="3853290"/>
          </a:xfrm>
        </p:grpSpPr>
        <p:sp>
          <p:nvSpPr>
            <p:cNvPr id="10" name="Freeform: Shape 9">
              <a:extLst>
                <a:ext uri="{FF2B5EF4-FFF2-40B4-BE49-F238E27FC236}">
                  <a16:creationId xmlns:a16="http://schemas.microsoft.com/office/drawing/2014/main" id="{378EA102-3F81-46E7-7D1C-9E71D5EA42B3}"/>
                </a:ext>
              </a:extLst>
            </p:cNvPr>
            <p:cNvSpPr/>
            <p:nvPr/>
          </p:nvSpPr>
          <p:spPr>
            <a:xfrm>
              <a:off x="544194" y="1803553"/>
              <a:ext cx="11044607" cy="3853290"/>
            </a:xfrm>
            <a:custGeom>
              <a:avLst/>
              <a:gdLst>
                <a:gd name="connsiteX0" fmla="*/ 9185820 w 11044607"/>
                <a:gd name="connsiteY0" fmla="*/ 796494 h 3853290"/>
                <a:gd name="connsiteX1" fmla="*/ 9894834 w 11044607"/>
                <a:gd name="connsiteY1" fmla="*/ 1510737 h 3853290"/>
                <a:gd name="connsiteX2" fmla="*/ 8420696 w 11044607"/>
                <a:gd name="connsiteY2" fmla="*/ 1510737 h 3853290"/>
                <a:gd name="connsiteX3" fmla="*/ 9185820 w 11044607"/>
                <a:gd name="connsiteY3" fmla="*/ 796494 h 3853290"/>
                <a:gd name="connsiteX4" fmla="*/ 9250218 w 11044607"/>
                <a:gd name="connsiteY4" fmla="*/ 3042514 h 3853290"/>
                <a:gd name="connsiteX5" fmla="*/ 8410240 w 11044607"/>
                <a:gd name="connsiteY5" fmla="*/ 2226255 h 3853290"/>
                <a:gd name="connsiteX6" fmla="*/ 8407434 w 11044607"/>
                <a:gd name="connsiteY6" fmla="*/ 2206872 h 3853290"/>
                <a:gd name="connsiteX7" fmla="*/ 11044560 w 11044607"/>
                <a:gd name="connsiteY7" fmla="*/ 2206872 h 3853290"/>
                <a:gd name="connsiteX8" fmla="*/ 10405682 w 11044607"/>
                <a:gd name="connsiteY8" fmla="*/ 453718 h 3853290"/>
                <a:gd name="connsiteX9" fmla="*/ 9164269 w 11044607"/>
                <a:gd name="connsiteY9" fmla="*/ 0 h 3853290"/>
                <a:gd name="connsiteX10" fmla="*/ 7323892 w 11044607"/>
                <a:gd name="connsiteY10" fmla="*/ 1579853 h 3853290"/>
                <a:gd name="connsiteX11" fmla="*/ 7323892 w 11044607"/>
                <a:gd name="connsiteY11" fmla="*/ 1371867 h 3853290"/>
                <a:gd name="connsiteX12" fmla="*/ 6076230 w 11044607"/>
                <a:gd name="connsiteY12" fmla="*/ 0 h 3853290"/>
                <a:gd name="connsiteX13" fmla="*/ 4945249 w 11044607"/>
                <a:gd name="connsiteY13" fmla="*/ 608528 h 3853290"/>
                <a:gd name="connsiteX14" fmla="*/ 4923826 w 11044607"/>
                <a:gd name="connsiteY14" fmla="*/ 608528 h 3853290"/>
                <a:gd name="connsiteX15" fmla="*/ 4923826 w 11044607"/>
                <a:gd name="connsiteY15" fmla="*/ 107372 h 3853290"/>
                <a:gd name="connsiteX16" fmla="*/ 3826384 w 11044607"/>
                <a:gd name="connsiteY16" fmla="*/ 107372 h 3853290"/>
                <a:gd name="connsiteX17" fmla="*/ 3826384 w 11044607"/>
                <a:gd name="connsiteY17" fmla="*/ 1616579 h 3853290"/>
                <a:gd name="connsiteX18" fmla="*/ 1925816 w 11044607"/>
                <a:gd name="connsiteY18" fmla="*/ 1658 h 3853290"/>
                <a:gd name="connsiteX19" fmla="*/ 0 w 11044607"/>
                <a:gd name="connsiteY19" fmla="*/ 1927474 h 3853290"/>
                <a:gd name="connsiteX20" fmla="*/ 1925816 w 11044607"/>
                <a:gd name="connsiteY20" fmla="*/ 3853290 h 3853290"/>
                <a:gd name="connsiteX21" fmla="*/ 3826256 w 11044607"/>
                <a:gd name="connsiteY21" fmla="*/ 2238369 h 3853290"/>
                <a:gd name="connsiteX22" fmla="*/ 3826256 w 11044607"/>
                <a:gd name="connsiteY22" fmla="*/ 3738777 h 3853290"/>
                <a:gd name="connsiteX23" fmla="*/ 4949585 w 11044607"/>
                <a:gd name="connsiteY23" fmla="*/ 3738777 h 3853290"/>
                <a:gd name="connsiteX24" fmla="*/ 4949585 w 11044607"/>
                <a:gd name="connsiteY24" fmla="*/ 1729817 h 3853290"/>
                <a:gd name="connsiteX25" fmla="*/ 5610907 w 11044607"/>
                <a:gd name="connsiteY25" fmla="*/ 939699 h 3853290"/>
                <a:gd name="connsiteX26" fmla="*/ 6200562 w 11044607"/>
                <a:gd name="connsiteY26" fmla="*/ 1608162 h 3853290"/>
                <a:gd name="connsiteX27" fmla="*/ 6200562 w 11044607"/>
                <a:gd name="connsiteY27" fmla="*/ 3738904 h 3853290"/>
                <a:gd name="connsiteX28" fmla="*/ 7323892 w 11044607"/>
                <a:gd name="connsiteY28" fmla="*/ 3738904 h 3853290"/>
                <a:gd name="connsiteX29" fmla="*/ 7323892 w 11044607"/>
                <a:gd name="connsiteY29" fmla="*/ 2264256 h 3853290"/>
                <a:gd name="connsiteX30" fmla="*/ 9235808 w 11044607"/>
                <a:gd name="connsiteY30" fmla="*/ 3846276 h 3853290"/>
                <a:gd name="connsiteX31" fmla="*/ 10371507 w 11044607"/>
                <a:gd name="connsiteY31" fmla="*/ 3512810 h 3853290"/>
                <a:gd name="connsiteX32" fmla="*/ 10975189 w 11044607"/>
                <a:gd name="connsiteY32" fmla="*/ 2677423 h 3853290"/>
                <a:gd name="connsiteX33" fmla="*/ 9869586 w 11044607"/>
                <a:gd name="connsiteY33" fmla="*/ 2677423 h 3853290"/>
                <a:gd name="connsiteX34" fmla="*/ 9250090 w 11044607"/>
                <a:gd name="connsiteY34" fmla="*/ 3042514 h 385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044607" h="3853290">
                  <a:moveTo>
                    <a:pt x="9185820" y="796494"/>
                  </a:moveTo>
                  <a:cubicBezTo>
                    <a:pt x="9569147" y="796494"/>
                    <a:pt x="9845612" y="1076401"/>
                    <a:pt x="9894834" y="1510737"/>
                  </a:cubicBezTo>
                  <a:lnTo>
                    <a:pt x="8420696" y="1510737"/>
                  </a:lnTo>
                  <a:cubicBezTo>
                    <a:pt x="8510726" y="1036998"/>
                    <a:pt x="8767935" y="796494"/>
                    <a:pt x="9185820" y="796494"/>
                  </a:cubicBezTo>
                  <a:moveTo>
                    <a:pt x="9250218" y="3042514"/>
                  </a:moveTo>
                  <a:cubicBezTo>
                    <a:pt x="8784768" y="3042514"/>
                    <a:pt x="8486369" y="2752532"/>
                    <a:pt x="8410240" y="2226255"/>
                  </a:cubicBezTo>
                  <a:lnTo>
                    <a:pt x="8407434" y="2206872"/>
                  </a:lnTo>
                  <a:lnTo>
                    <a:pt x="11044560" y="2206872"/>
                  </a:lnTo>
                  <a:cubicBezTo>
                    <a:pt x="11048386" y="1457816"/>
                    <a:pt x="10821782" y="835770"/>
                    <a:pt x="10405682" y="453718"/>
                  </a:cubicBezTo>
                  <a:cubicBezTo>
                    <a:pt x="10074511" y="152642"/>
                    <a:pt x="9656754" y="0"/>
                    <a:pt x="9164269" y="0"/>
                  </a:cubicBezTo>
                  <a:cubicBezTo>
                    <a:pt x="8195750" y="0"/>
                    <a:pt x="7465567" y="646912"/>
                    <a:pt x="7323892" y="1579853"/>
                  </a:cubicBezTo>
                  <a:lnTo>
                    <a:pt x="7323892" y="1371867"/>
                  </a:lnTo>
                  <a:cubicBezTo>
                    <a:pt x="7323892" y="538520"/>
                    <a:pt x="6839951" y="0"/>
                    <a:pt x="6076230" y="0"/>
                  </a:cubicBezTo>
                  <a:cubicBezTo>
                    <a:pt x="5567933" y="0"/>
                    <a:pt x="5217251" y="214745"/>
                    <a:pt x="4945249" y="608528"/>
                  </a:cubicBezTo>
                  <a:lnTo>
                    <a:pt x="4923826" y="608528"/>
                  </a:lnTo>
                  <a:lnTo>
                    <a:pt x="4923826" y="107372"/>
                  </a:lnTo>
                  <a:lnTo>
                    <a:pt x="3826384" y="107372"/>
                  </a:lnTo>
                  <a:lnTo>
                    <a:pt x="3826384" y="1616579"/>
                  </a:lnTo>
                  <a:cubicBezTo>
                    <a:pt x="3677184" y="702001"/>
                    <a:pt x="2881966" y="1658"/>
                    <a:pt x="1925816" y="1658"/>
                  </a:cubicBezTo>
                  <a:cubicBezTo>
                    <a:pt x="863952" y="1658"/>
                    <a:pt x="0" y="865482"/>
                    <a:pt x="0" y="1927474"/>
                  </a:cubicBezTo>
                  <a:cubicBezTo>
                    <a:pt x="0" y="2989465"/>
                    <a:pt x="863952" y="3853290"/>
                    <a:pt x="1925816" y="3853290"/>
                  </a:cubicBezTo>
                  <a:cubicBezTo>
                    <a:pt x="2881839" y="3853290"/>
                    <a:pt x="3677057" y="3152947"/>
                    <a:pt x="3826256" y="2238369"/>
                  </a:cubicBezTo>
                  <a:lnTo>
                    <a:pt x="3826256" y="3738777"/>
                  </a:lnTo>
                  <a:lnTo>
                    <a:pt x="4949585" y="3738777"/>
                  </a:lnTo>
                  <a:lnTo>
                    <a:pt x="4949585" y="1729817"/>
                  </a:lnTo>
                  <a:cubicBezTo>
                    <a:pt x="4949585" y="1264622"/>
                    <a:pt x="5221459" y="939699"/>
                    <a:pt x="5610907" y="939699"/>
                  </a:cubicBezTo>
                  <a:cubicBezTo>
                    <a:pt x="5980080" y="939699"/>
                    <a:pt x="6200562" y="1189640"/>
                    <a:pt x="6200562" y="1608162"/>
                  </a:cubicBezTo>
                  <a:lnTo>
                    <a:pt x="6200562" y="3738904"/>
                  </a:lnTo>
                  <a:lnTo>
                    <a:pt x="7323892" y="3738904"/>
                  </a:lnTo>
                  <a:lnTo>
                    <a:pt x="7323892" y="2264256"/>
                  </a:lnTo>
                  <a:cubicBezTo>
                    <a:pt x="7465439" y="3223721"/>
                    <a:pt x="8197918" y="3846276"/>
                    <a:pt x="9235808" y="3846276"/>
                  </a:cubicBezTo>
                  <a:cubicBezTo>
                    <a:pt x="9678432" y="3846276"/>
                    <a:pt x="10050027" y="3737246"/>
                    <a:pt x="10371507" y="3512810"/>
                  </a:cubicBezTo>
                  <a:cubicBezTo>
                    <a:pt x="10677173" y="3302273"/>
                    <a:pt x="10890770" y="3006426"/>
                    <a:pt x="10975189" y="2677423"/>
                  </a:cubicBezTo>
                  <a:lnTo>
                    <a:pt x="9869586" y="2677423"/>
                  </a:lnTo>
                  <a:cubicBezTo>
                    <a:pt x="9760682" y="2916396"/>
                    <a:pt x="9546703" y="3042514"/>
                    <a:pt x="9250090" y="3042514"/>
                  </a:cubicBezTo>
                </a:path>
              </a:pathLst>
            </a:custGeom>
            <a:solidFill>
              <a:schemeClr val="tx1"/>
            </a:solidFill>
            <a:ln w="12748"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10DE825E-99C1-3928-E588-7B8332699B3F}"/>
                </a:ext>
              </a:extLst>
            </p:cNvPr>
            <p:cNvSpPr/>
            <p:nvPr/>
          </p:nvSpPr>
          <p:spPr>
            <a:xfrm>
              <a:off x="704232" y="3467314"/>
              <a:ext cx="448745" cy="511357"/>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rgbClr val="FFFFFF"/>
            </a:solidFill>
            <a:ln w="12748"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691B1133-E501-9FA4-411E-B5ACDBB641AC}"/>
                </a:ext>
              </a:extLst>
            </p:cNvPr>
            <p:cNvSpPr/>
            <p:nvPr/>
          </p:nvSpPr>
          <p:spPr>
            <a:xfrm>
              <a:off x="1164964" y="3467186"/>
              <a:ext cx="509572" cy="511357"/>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rgbClr val="FFFFFF"/>
            </a:solidFill>
            <a:ln w="12748"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B7CDF8AC-639D-C1D1-6ACE-4D44B417081D}"/>
                </a:ext>
              </a:extLst>
            </p:cNvPr>
            <p:cNvSpPr/>
            <p:nvPr/>
          </p:nvSpPr>
          <p:spPr>
            <a:xfrm>
              <a:off x="1657193" y="3288479"/>
              <a:ext cx="1320093" cy="68011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rgbClr val="FFFFFF"/>
            </a:solidFill>
            <a:ln w="12748"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1C514EF1-E66A-8969-23B5-52E36821CD07}"/>
                </a:ext>
              </a:extLst>
            </p:cNvPr>
            <p:cNvSpPr/>
            <p:nvPr/>
          </p:nvSpPr>
          <p:spPr>
            <a:xfrm>
              <a:off x="2945534" y="3467059"/>
              <a:ext cx="473101" cy="508679"/>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rgbClr val="FFFFFF"/>
            </a:solidFill>
            <a:ln w="12748"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224645F2-D634-0A2C-53DE-F92546E0F680}"/>
                </a:ext>
              </a:extLst>
            </p:cNvPr>
            <p:cNvSpPr/>
            <p:nvPr/>
          </p:nvSpPr>
          <p:spPr>
            <a:xfrm>
              <a:off x="3454341" y="3472670"/>
              <a:ext cx="303753" cy="490571"/>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rgbClr val="FFFFFF"/>
            </a:solidFill>
            <a:ln w="12748"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DFF24D7E-D03A-1D64-EAFB-1CF2C4077988}"/>
                </a:ext>
              </a:extLst>
            </p:cNvPr>
            <p:cNvSpPr/>
            <p:nvPr/>
          </p:nvSpPr>
          <p:spPr>
            <a:xfrm>
              <a:off x="3753887" y="3467186"/>
              <a:ext cx="491487" cy="510464"/>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rgbClr val="FFFFFF"/>
            </a:solidFill>
            <a:ln w="12748" cap="flat">
              <a:noFill/>
              <a:prstDash val="solid"/>
              <a:miter/>
            </a:ln>
          </p:spPr>
          <p:txBody>
            <a:bodyPr rtlCol="0" anchor="ctr"/>
            <a:lstStyle/>
            <a:p>
              <a:endParaRPr lang="en-AU"/>
            </a:p>
          </p:txBody>
        </p:sp>
      </p:grpSp>
      <p:sp>
        <p:nvSpPr>
          <p:cNvPr id="22" name="Text Placeholder 21">
            <a:extLst>
              <a:ext uri="{FF2B5EF4-FFF2-40B4-BE49-F238E27FC236}">
                <a16:creationId xmlns:a16="http://schemas.microsoft.com/office/drawing/2014/main" id="{4DD5F2FC-66BA-538C-441F-8B6F9CE26CAF}"/>
              </a:ext>
            </a:extLst>
          </p:cNvPr>
          <p:cNvSpPr>
            <a:spLocks noGrp="1"/>
          </p:cNvSpPr>
          <p:nvPr>
            <p:ph type="body" sz="quarter" idx="12" hasCustomPrompt="1"/>
          </p:nvPr>
        </p:nvSpPr>
        <p:spPr>
          <a:xfrm>
            <a:off x="6956907" y="1689564"/>
            <a:ext cx="4797184" cy="1412452"/>
          </a:xfrm>
        </p:spPr>
        <p:txBody>
          <a:bodyPr/>
          <a:lstStyle>
            <a:lvl1pPr>
              <a:spcAft>
                <a:spcPts val="0"/>
              </a:spcAft>
              <a:defRPr sz="1500" b="1">
                <a:solidFill>
                  <a:schemeClr val="accent1"/>
                </a:solidFill>
              </a:defRPr>
            </a:lvl1pPr>
            <a:lvl2pPr marL="0" indent="0">
              <a:spcAft>
                <a:spcPts val="0"/>
              </a:spcAft>
              <a:buNone/>
              <a:defRPr sz="1500" b="1"/>
            </a:lvl2pPr>
          </a:lstStyle>
          <a:p>
            <a:pPr lvl="0"/>
            <a:r>
              <a:rPr lang="en-US"/>
              <a:t>Get in Touch</a:t>
            </a:r>
          </a:p>
          <a:p>
            <a:pPr lvl="1"/>
            <a:r>
              <a:rPr lang="en-US"/>
              <a:t>+001 123 45 678 99</a:t>
            </a:r>
          </a:p>
          <a:p>
            <a:pPr lvl="1"/>
            <a:r>
              <a:rPr lang="en-US"/>
              <a:t>info@softwareone.com </a:t>
            </a:r>
          </a:p>
          <a:p>
            <a:pPr lvl="1"/>
            <a:r>
              <a:rPr lang="en-US"/>
              <a:t>7788 One City, One Country</a:t>
            </a:r>
          </a:p>
        </p:txBody>
      </p:sp>
    </p:spTree>
    <p:extLst>
      <p:ext uri="{BB962C8B-B14F-4D97-AF65-F5344CB8AC3E}">
        <p14:creationId xmlns:p14="http://schemas.microsoft.com/office/powerpoint/2010/main" val="25388604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hank you_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4964198-D302-9FAF-B96B-84DB79051B4B}"/>
              </a:ext>
            </a:extLst>
          </p:cNvPr>
          <p:cNvSpPr/>
          <p:nvPr/>
        </p:nvSpPr>
        <p:spPr>
          <a:xfrm>
            <a:off x="9410218" y="6041403"/>
            <a:ext cx="2417180" cy="521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CF9A0213-0E70-D87C-D460-5E293897683B}"/>
              </a:ext>
            </a:extLst>
          </p:cNvPr>
          <p:cNvSpPr>
            <a:spLocks noGrp="1"/>
          </p:cNvSpPr>
          <p:nvPr>
            <p:ph type="title" hasCustomPrompt="1"/>
          </p:nvPr>
        </p:nvSpPr>
        <p:spPr>
          <a:xfrm>
            <a:off x="479425" y="1689563"/>
            <a:ext cx="2555193" cy="1494091"/>
          </a:xfrm>
        </p:spPr>
        <p:txBody>
          <a:bodyPr/>
          <a:lstStyle>
            <a:lvl1pPr>
              <a:lnSpc>
                <a:spcPct val="100000"/>
              </a:lnSpc>
              <a:tabLst>
                <a:tab pos="896938" algn="l"/>
              </a:tabLst>
              <a:defRPr sz="3400">
                <a:solidFill>
                  <a:schemeClr val="tx1"/>
                </a:solidFill>
              </a:defRPr>
            </a:lvl1pPr>
          </a:lstStyle>
          <a:p>
            <a:r>
              <a:rPr lang="en-US"/>
              <a:t>Thank You</a:t>
            </a:r>
            <a:endParaRPr lang="en-AU"/>
          </a:p>
        </p:txBody>
      </p:sp>
      <p:sp>
        <p:nvSpPr>
          <p:cNvPr id="4" name="Text Placeholder 8">
            <a:extLst>
              <a:ext uri="{FF2B5EF4-FFF2-40B4-BE49-F238E27FC236}">
                <a16:creationId xmlns:a16="http://schemas.microsoft.com/office/drawing/2014/main" id="{49395E8C-2043-558C-DB8F-2BA0BAECC652}"/>
              </a:ext>
            </a:extLst>
          </p:cNvPr>
          <p:cNvSpPr>
            <a:spLocks noGrp="1"/>
          </p:cNvSpPr>
          <p:nvPr>
            <p:ph type="body" sz="quarter" idx="10" hasCustomPrompt="1"/>
          </p:nvPr>
        </p:nvSpPr>
        <p:spPr>
          <a:xfrm>
            <a:off x="479425" y="1481895"/>
            <a:ext cx="11268000" cy="10800"/>
          </a:xfrm>
          <a:solidFill>
            <a:schemeClr val="tx1"/>
          </a:solidFill>
        </p:spPr>
        <p:txBody>
          <a:bodyPr/>
          <a:lstStyle>
            <a:lvl1pPr>
              <a:defRPr/>
            </a:lvl1pPr>
          </a:lstStyle>
          <a:p>
            <a:pPr lvl="0"/>
            <a:r>
              <a:rPr lang="en-US"/>
              <a:t> </a:t>
            </a:r>
            <a:endParaRPr lang="en-AU"/>
          </a:p>
        </p:txBody>
      </p:sp>
      <p:sp>
        <p:nvSpPr>
          <p:cNvPr id="6" name="Text Placeholder 8">
            <a:extLst>
              <a:ext uri="{FF2B5EF4-FFF2-40B4-BE49-F238E27FC236}">
                <a16:creationId xmlns:a16="http://schemas.microsoft.com/office/drawing/2014/main" id="{FE20994F-CA5A-7773-0B6C-2EC812F04F46}"/>
              </a:ext>
            </a:extLst>
          </p:cNvPr>
          <p:cNvSpPr>
            <a:spLocks noGrp="1"/>
          </p:cNvSpPr>
          <p:nvPr>
            <p:ph type="body" sz="quarter" idx="11" hasCustomPrompt="1"/>
          </p:nvPr>
        </p:nvSpPr>
        <p:spPr>
          <a:xfrm>
            <a:off x="479425" y="3566727"/>
            <a:ext cx="11268000" cy="10800"/>
          </a:xfrm>
          <a:solidFill>
            <a:schemeClr val="tx1"/>
          </a:solidFill>
        </p:spPr>
        <p:txBody>
          <a:bodyPr/>
          <a:lstStyle>
            <a:lvl1pPr>
              <a:defRPr/>
            </a:lvl1pPr>
          </a:lstStyle>
          <a:p>
            <a:pPr lvl="0"/>
            <a:r>
              <a:rPr lang="en-US"/>
              <a:t> </a:t>
            </a:r>
            <a:endParaRPr lang="en-AU"/>
          </a:p>
        </p:txBody>
      </p:sp>
      <p:sp>
        <p:nvSpPr>
          <p:cNvPr id="22" name="Text Placeholder 21">
            <a:extLst>
              <a:ext uri="{FF2B5EF4-FFF2-40B4-BE49-F238E27FC236}">
                <a16:creationId xmlns:a16="http://schemas.microsoft.com/office/drawing/2014/main" id="{4DD5F2FC-66BA-538C-441F-8B6F9CE26CAF}"/>
              </a:ext>
            </a:extLst>
          </p:cNvPr>
          <p:cNvSpPr>
            <a:spLocks noGrp="1"/>
          </p:cNvSpPr>
          <p:nvPr>
            <p:ph type="body" sz="quarter" idx="12" hasCustomPrompt="1"/>
          </p:nvPr>
        </p:nvSpPr>
        <p:spPr>
          <a:xfrm>
            <a:off x="6956907" y="1689564"/>
            <a:ext cx="4797184" cy="1412452"/>
          </a:xfrm>
        </p:spPr>
        <p:txBody>
          <a:bodyPr/>
          <a:lstStyle>
            <a:lvl1pPr>
              <a:spcAft>
                <a:spcPts val="0"/>
              </a:spcAft>
              <a:defRPr sz="1500" b="1">
                <a:solidFill>
                  <a:schemeClr val="accent1"/>
                </a:solidFill>
              </a:defRPr>
            </a:lvl1pPr>
            <a:lvl2pPr marL="0" indent="0">
              <a:spcAft>
                <a:spcPts val="0"/>
              </a:spcAft>
              <a:buNone/>
              <a:defRPr sz="1500" b="1"/>
            </a:lvl2pPr>
          </a:lstStyle>
          <a:p>
            <a:pPr lvl="0"/>
            <a:r>
              <a:rPr lang="en-US"/>
              <a:t>Get in Touch</a:t>
            </a:r>
          </a:p>
          <a:p>
            <a:pPr lvl="1"/>
            <a:r>
              <a:rPr lang="en-US"/>
              <a:t>+001 123 45 678 99</a:t>
            </a:r>
          </a:p>
          <a:p>
            <a:pPr lvl="1"/>
            <a:r>
              <a:rPr lang="en-US"/>
              <a:t>info@softwareone.com </a:t>
            </a:r>
          </a:p>
          <a:p>
            <a:pPr lvl="1"/>
            <a:r>
              <a:rPr lang="en-US"/>
              <a:t>7788 One City, One Country</a:t>
            </a:r>
          </a:p>
        </p:txBody>
      </p:sp>
      <p:sp>
        <p:nvSpPr>
          <p:cNvPr id="3" name="Rectangle 2">
            <a:extLst>
              <a:ext uri="{FF2B5EF4-FFF2-40B4-BE49-F238E27FC236}">
                <a16:creationId xmlns:a16="http://schemas.microsoft.com/office/drawing/2014/main" id="{51373A4E-2151-FD5A-E7AC-BC6DDFAEF897}"/>
              </a:ext>
            </a:extLst>
          </p:cNvPr>
          <p:cNvSpPr/>
          <p:nvPr userDrawn="1"/>
        </p:nvSpPr>
        <p:spPr>
          <a:xfrm>
            <a:off x="9410218" y="6041403"/>
            <a:ext cx="2417180" cy="521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4" name="Group 23">
            <a:extLst>
              <a:ext uri="{FF2B5EF4-FFF2-40B4-BE49-F238E27FC236}">
                <a16:creationId xmlns:a16="http://schemas.microsoft.com/office/drawing/2014/main" id="{18BF74C7-AF82-FDC9-CD69-A8CA30D6A212}"/>
              </a:ext>
            </a:extLst>
          </p:cNvPr>
          <p:cNvGrpSpPr/>
          <p:nvPr userDrawn="1"/>
        </p:nvGrpSpPr>
        <p:grpSpPr>
          <a:xfrm>
            <a:off x="4404575" y="3950383"/>
            <a:ext cx="7308000" cy="2548800"/>
            <a:chOff x="381635" y="885953"/>
            <a:chExt cx="5727062" cy="1998082"/>
          </a:xfrm>
        </p:grpSpPr>
        <p:sp>
          <p:nvSpPr>
            <p:cNvPr id="33" name="Freeform: Shape 32">
              <a:extLst>
                <a:ext uri="{FF2B5EF4-FFF2-40B4-BE49-F238E27FC236}">
                  <a16:creationId xmlns:a16="http://schemas.microsoft.com/office/drawing/2014/main" id="{12229141-83B5-5CC1-6D5A-4F834312EB2A}"/>
                </a:ext>
              </a:extLst>
            </p:cNvPr>
            <p:cNvSpPr/>
            <p:nvPr/>
          </p:nvSpPr>
          <p:spPr>
            <a:xfrm>
              <a:off x="381635" y="885953"/>
              <a:ext cx="5727062" cy="1998082"/>
            </a:xfrm>
            <a:custGeom>
              <a:avLst/>
              <a:gdLst>
                <a:gd name="connsiteX0" fmla="*/ 9185820 w 11044607"/>
                <a:gd name="connsiteY0" fmla="*/ 796494 h 3853290"/>
                <a:gd name="connsiteX1" fmla="*/ 9894834 w 11044607"/>
                <a:gd name="connsiteY1" fmla="*/ 1510737 h 3853290"/>
                <a:gd name="connsiteX2" fmla="*/ 8420696 w 11044607"/>
                <a:gd name="connsiteY2" fmla="*/ 1510737 h 3853290"/>
                <a:gd name="connsiteX3" fmla="*/ 9185820 w 11044607"/>
                <a:gd name="connsiteY3" fmla="*/ 796494 h 3853290"/>
                <a:gd name="connsiteX4" fmla="*/ 9250218 w 11044607"/>
                <a:gd name="connsiteY4" fmla="*/ 3042514 h 3853290"/>
                <a:gd name="connsiteX5" fmla="*/ 8410240 w 11044607"/>
                <a:gd name="connsiteY5" fmla="*/ 2226255 h 3853290"/>
                <a:gd name="connsiteX6" fmla="*/ 8407434 w 11044607"/>
                <a:gd name="connsiteY6" fmla="*/ 2206872 h 3853290"/>
                <a:gd name="connsiteX7" fmla="*/ 11044560 w 11044607"/>
                <a:gd name="connsiteY7" fmla="*/ 2206872 h 3853290"/>
                <a:gd name="connsiteX8" fmla="*/ 10405682 w 11044607"/>
                <a:gd name="connsiteY8" fmla="*/ 453718 h 3853290"/>
                <a:gd name="connsiteX9" fmla="*/ 9164269 w 11044607"/>
                <a:gd name="connsiteY9" fmla="*/ 0 h 3853290"/>
                <a:gd name="connsiteX10" fmla="*/ 7323892 w 11044607"/>
                <a:gd name="connsiteY10" fmla="*/ 1579853 h 3853290"/>
                <a:gd name="connsiteX11" fmla="*/ 7323892 w 11044607"/>
                <a:gd name="connsiteY11" fmla="*/ 1371867 h 3853290"/>
                <a:gd name="connsiteX12" fmla="*/ 6076230 w 11044607"/>
                <a:gd name="connsiteY12" fmla="*/ 0 h 3853290"/>
                <a:gd name="connsiteX13" fmla="*/ 4945249 w 11044607"/>
                <a:gd name="connsiteY13" fmla="*/ 608528 h 3853290"/>
                <a:gd name="connsiteX14" fmla="*/ 4923826 w 11044607"/>
                <a:gd name="connsiteY14" fmla="*/ 608528 h 3853290"/>
                <a:gd name="connsiteX15" fmla="*/ 4923826 w 11044607"/>
                <a:gd name="connsiteY15" fmla="*/ 107372 h 3853290"/>
                <a:gd name="connsiteX16" fmla="*/ 3826384 w 11044607"/>
                <a:gd name="connsiteY16" fmla="*/ 107372 h 3853290"/>
                <a:gd name="connsiteX17" fmla="*/ 3826384 w 11044607"/>
                <a:gd name="connsiteY17" fmla="*/ 1616579 h 3853290"/>
                <a:gd name="connsiteX18" fmla="*/ 1925816 w 11044607"/>
                <a:gd name="connsiteY18" fmla="*/ 1658 h 3853290"/>
                <a:gd name="connsiteX19" fmla="*/ 0 w 11044607"/>
                <a:gd name="connsiteY19" fmla="*/ 1927474 h 3853290"/>
                <a:gd name="connsiteX20" fmla="*/ 1925816 w 11044607"/>
                <a:gd name="connsiteY20" fmla="*/ 3853290 h 3853290"/>
                <a:gd name="connsiteX21" fmla="*/ 3826256 w 11044607"/>
                <a:gd name="connsiteY21" fmla="*/ 2238369 h 3853290"/>
                <a:gd name="connsiteX22" fmla="*/ 3826256 w 11044607"/>
                <a:gd name="connsiteY22" fmla="*/ 3738777 h 3853290"/>
                <a:gd name="connsiteX23" fmla="*/ 4949585 w 11044607"/>
                <a:gd name="connsiteY23" fmla="*/ 3738777 h 3853290"/>
                <a:gd name="connsiteX24" fmla="*/ 4949585 w 11044607"/>
                <a:gd name="connsiteY24" fmla="*/ 1729817 h 3853290"/>
                <a:gd name="connsiteX25" fmla="*/ 5610907 w 11044607"/>
                <a:gd name="connsiteY25" fmla="*/ 939699 h 3853290"/>
                <a:gd name="connsiteX26" fmla="*/ 6200562 w 11044607"/>
                <a:gd name="connsiteY26" fmla="*/ 1608162 h 3853290"/>
                <a:gd name="connsiteX27" fmla="*/ 6200562 w 11044607"/>
                <a:gd name="connsiteY27" fmla="*/ 3738904 h 3853290"/>
                <a:gd name="connsiteX28" fmla="*/ 7323892 w 11044607"/>
                <a:gd name="connsiteY28" fmla="*/ 3738904 h 3853290"/>
                <a:gd name="connsiteX29" fmla="*/ 7323892 w 11044607"/>
                <a:gd name="connsiteY29" fmla="*/ 2264256 h 3853290"/>
                <a:gd name="connsiteX30" fmla="*/ 9235808 w 11044607"/>
                <a:gd name="connsiteY30" fmla="*/ 3846276 h 3853290"/>
                <a:gd name="connsiteX31" fmla="*/ 10371507 w 11044607"/>
                <a:gd name="connsiteY31" fmla="*/ 3512810 h 3853290"/>
                <a:gd name="connsiteX32" fmla="*/ 10975189 w 11044607"/>
                <a:gd name="connsiteY32" fmla="*/ 2677423 h 3853290"/>
                <a:gd name="connsiteX33" fmla="*/ 9869586 w 11044607"/>
                <a:gd name="connsiteY33" fmla="*/ 2677423 h 3853290"/>
                <a:gd name="connsiteX34" fmla="*/ 9250090 w 11044607"/>
                <a:gd name="connsiteY34" fmla="*/ 3042514 h 385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044607" h="3853290">
                  <a:moveTo>
                    <a:pt x="9185820" y="796494"/>
                  </a:moveTo>
                  <a:cubicBezTo>
                    <a:pt x="9569147" y="796494"/>
                    <a:pt x="9845612" y="1076401"/>
                    <a:pt x="9894834" y="1510737"/>
                  </a:cubicBezTo>
                  <a:lnTo>
                    <a:pt x="8420696" y="1510737"/>
                  </a:lnTo>
                  <a:cubicBezTo>
                    <a:pt x="8510726" y="1036998"/>
                    <a:pt x="8767935" y="796494"/>
                    <a:pt x="9185820" y="796494"/>
                  </a:cubicBezTo>
                  <a:moveTo>
                    <a:pt x="9250218" y="3042514"/>
                  </a:moveTo>
                  <a:cubicBezTo>
                    <a:pt x="8784768" y="3042514"/>
                    <a:pt x="8486369" y="2752532"/>
                    <a:pt x="8410240" y="2226255"/>
                  </a:cubicBezTo>
                  <a:lnTo>
                    <a:pt x="8407434" y="2206872"/>
                  </a:lnTo>
                  <a:lnTo>
                    <a:pt x="11044560" y="2206872"/>
                  </a:lnTo>
                  <a:cubicBezTo>
                    <a:pt x="11048386" y="1457816"/>
                    <a:pt x="10821782" y="835770"/>
                    <a:pt x="10405682" y="453718"/>
                  </a:cubicBezTo>
                  <a:cubicBezTo>
                    <a:pt x="10074511" y="152642"/>
                    <a:pt x="9656754" y="0"/>
                    <a:pt x="9164269" y="0"/>
                  </a:cubicBezTo>
                  <a:cubicBezTo>
                    <a:pt x="8195750" y="0"/>
                    <a:pt x="7465567" y="646912"/>
                    <a:pt x="7323892" y="1579853"/>
                  </a:cubicBezTo>
                  <a:lnTo>
                    <a:pt x="7323892" y="1371867"/>
                  </a:lnTo>
                  <a:cubicBezTo>
                    <a:pt x="7323892" y="538520"/>
                    <a:pt x="6839951" y="0"/>
                    <a:pt x="6076230" y="0"/>
                  </a:cubicBezTo>
                  <a:cubicBezTo>
                    <a:pt x="5567933" y="0"/>
                    <a:pt x="5217251" y="214745"/>
                    <a:pt x="4945249" y="608528"/>
                  </a:cubicBezTo>
                  <a:lnTo>
                    <a:pt x="4923826" y="608528"/>
                  </a:lnTo>
                  <a:lnTo>
                    <a:pt x="4923826" y="107372"/>
                  </a:lnTo>
                  <a:lnTo>
                    <a:pt x="3826384" y="107372"/>
                  </a:lnTo>
                  <a:lnTo>
                    <a:pt x="3826384" y="1616579"/>
                  </a:lnTo>
                  <a:cubicBezTo>
                    <a:pt x="3677184" y="702001"/>
                    <a:pt x="2881966" y="1658"/>
                    <a:pt x="1925816" y="1658"/>
                  </a:cubicBezTo>
                  <a:cubicBezTo>
                    <a:pt x="863952" y="1658"/>
                    <a:pt x="0" y="865482"/>
                    <a:pt x="0" y="1927474"/>
                  </a:cubicBezTo>
                  <a:cubicBezTo>
                    <a:pt x="0" y="2989465"/>
                    <a:pt x="863952" y="3853290"/>
                    <a:pt x="1925816" y="3853290"/>
                  </a:cubicBezTo>
                  <a:cubicBezTo>
                    <a:pt x="2881839" y="3853290"/>
                    <a:pt x="3677057" y="3152947"/>
                    <a:pt x="3826256" y="2238369"/>
                  </a:cubicBezTo>
                  <a:lnTo>
                    <a:pt x="3826256" y="3738777"/>
                  </a:lnTo>
                  <a:lnTo>
                    <a:pt x="4949585" y="3738777"/>
                  </a:lnTo>
                  <a:lnTo>
                    <a:pt x="4949585" y="1729817"/>
                  </a:lnTo>
                  <a:cubicBezTo>
                    <a:pt x="4949585" y="1264622"/>
                    <a:pt x="5221459" y="939699"/>
                    <a:pt x="5610907" y="939699"/>
                  </a:cubicBezTo>
                  <a:cubicBezTo>
                    <a:pt x="5980080" y="939699"/>
                    <a:pt x="6200562" y="1189640"/>
                    <a:pt x="6200562" y="1608162"/>
                  </a:cubicBezTo>
                  <a:lnTo>
                    <a:pt x="6200562" y="3738904"/>
                  </a:lnTo>
                  <a:lnTo>
                    <a:pt x="7323892" y="3738904"/>
                  </a:lnTo>
                  <a:lnTo>
                    <a:pt x="7323892" y="2264256"/>
                  </a:lnTo>
                  <a:cubicBezTo>
                    <a:pt x="7465439" y="3223721"/>
                    <a:pt x="8197918" y="3846276"/>
                    <a:pt x="9235808" y="3846276"/>
                  </a:cubicBezTo>
                  <a:cubicBezTo>
                    <a:pt x="9678432" y="3846276"/>
                    <a:pt x="10050027" y="3737246"/>
                    <a:pt x="10371507" y="3512810"/>
                  </a:cubicBezTo>
                  <a:cubicBezTo>
                    <a:pt x="10677173" y="3302273"/>
                    <a:pt x="10890770" y="3006426"/>
                    <a:pt x="10975189" y="2677423"/>
                  </a:cubicBezTo>
                  <a:lnTo>
                    <a:pt x="9869586" y="2677423"/>
                  </a:lnTo>
                  <a:cubicBezTo>
                    <a:pt x="9760682" y="2916396"/>
                    <a:pt x="9546703" y="3042514"/>
                    <a:pt x="9250090" y="3042514"/>
                  </a:cubicBezTo>
                </a:path>
              </a:pathLst>
            </a:custGeom>
            <a:blipFill>
              <a:blip r:embed="rId2"/>
              <a:stretch>
                <a:fillRect/>
              </a:stretch>
            </a:blipFill>
            <a:ln w="12748"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F76A1116-E551-1567-F089-75A688AC444A}"/>
                </a:ext>
              </a:extLst>
            </p:cNvPr>
            <p:cNvSpPr/>
            <p:nvPr/>
          </p:nvSpPr>
          <p:spPr>
            <a:xfrm>
              <a:off x="464621" y="1748678"/>
              <a:ext cx="232692" cy="265159"/>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solidFill>
              <a:srgbClr val="FFFFFF"/>
            </a:solidFill>
            <a:ln w="12748"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FBE0B948-5EEA-4A2A-E390-11CC65ED5C26}"/>
                </a:ext>
              </a:extLst>
            </p:cNvPr>
            <p:cNvSpPr/>
            <p:nvPr/>
          </p:nvSpPr>
          <p:spPr>
            <a:xfrm>
              <a:off x="703529" y="1748612"/>
              <a:ext cx="264233" cy="265159"/>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solidFill>
              <a:srgbClr val="FFFFFF"/>
            </a:solidFill>
            <a:ln w="12748"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C94DC276-1E10-8613-8CE9-143806DE878C}"/>
                </a:ext>
              </a:extLst>
            </p:cNvPr>
            <p:cNvSpPr/>
            <p:nvPr/>
          </p:nvSpPr>
          <p:spPr>
            <a:xfrm>
              <a:off x="958769" y="1655945"/>
              <a:ext cx="684520" cy="35266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solidFill>
              <a:srgbClr val="FFFFFF"/>
            </a:solidFill>
            <a:ln w="12748"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9F8B13CB-AB56-5538-B5B2-1AF4AFFBE588}"/>
                </a:ext>
              </a:extLst>
            </p:cNvPr>
            <p:cNvSpPr/>
            <p:nvPr/>
          </p:nvSpPr>
          <p:spPr>
            <a:xfrm>
              <a:off x="1626824" y="1748546"/>
              <a:ext cx="245321" cy="263770"/>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solidFill>
              <a:srgbClr val="FFFFFF"/>
            </a:solidFill>
            <a:ln w="12748"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FEA3D683-E8A8-A8FD-0BB7-22F50DA5ADDC}"/>
                </a:ext>
              </a:extLst>
            </p:cNvPr>
            <p:cNvSpPr/>
            <p:nvPr/>
          </p:nvSpPr>
          <p:spPr>
            <a:xfrm>
              <a:off x="1890660" y="1751456"/>
              <a:ext cx="157508" cy="254380"/>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solidFill>
              <a:srgbClr val="FFFFFF"/>
            </a:solidFill>
            <a:ln w="12748"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FA445BFC-C66B-B4D7-5CCB-C1FCEF4E433A}"/>
                </a:ext>
              </a:extLst>
            </p:cNvPr>
            <p:cNvSpPr/>
            <p:nvPr/>
          </p:nvSpPr>
          <p:spPr>
            <a:xfrm>
              <a:off x="2045987" y="1748612"/>
              <a:ext cx="254855" cy="264696"/>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solidFill>
              <a:srgbClr val="FFFFFF"/>
            </a:solidFill>
            <a:ln w="12748" cap="flat">
              <a:noFill/>
              <a:prstDash val="solid"/>
              <a:miter/>
            </a:ln>
          </p:spPr>
          <p:txBody>
            <a:bodyPr rtlCol="0" anchor="ctr"/>
            <a:lstStyle/>
            <a:p>
              <a:endParaRPr lang="en-AU"/>
            </a:p>
          </p:txBody>
        </p:sp>
      </p:grpSp>
    </p:spTree>
    <p:extLst>
      <p:ext uri="{BB962C8B-B14F-4D97-AF65-F5344CB8AC3E}">
        <p14:creationId xmlns:p14="http://schemas.microsoft.com/office/powerpoint/2010/main" val="40753567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ank you_3">
    <p:bg>
      <p:bgPr>
        <a:solidFill>
          <a:schemeClr val="tx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4964198-D302-9FAF-B96B-84DB79051B4B}"/>
              </a:ext>
            </a:extLst>
          </p:cNvPr>
          <p:cNvSpPr/>
          <p:nvPr/>
        </p:nvSpPr>
        <p:spPr>
          <a:xfrm>
            <a:off x="9410218" y="6041403"/>
            <a:ext cx="2417180" cy="5214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CF9A0213-0E70-D87C-D460-5E293897683B}"/>
              </a:ext>
            </a:extLst>
          </p:cNvPr>
          <p:cNvSpPr>
            <a:spLocks noGrp="1"/>
          </p:cNvSpPr>
          <p:nvPr>
            <p:ph type="title" hasCustomPrompt="1"/>
          </p:nvPr>
        </p:nvSpPr>
        <p:spPr>
          <a:xfrm>
            <a:off x="479425" y="1689563"/>
            <a:ext cx="2555193" cy="1494091"/>
          </a:xfrm>
        </p:spPr>
        <p:txBody>
          <a:bodyPr/>
          <a:lstStyle>
            <a:lvl1pPr>
              <a:lnSpc>
                <a:spcPct val="100000"/>
              </a:lnSpc>
              <a:tabLst>
                <a:tab pos="896938" algn="l"/>
              </a:tabLst>
              <a:defRPr sz="3400">
                <a:solidFill>
                  <a:schemeClr val="bg1"/>
                </a:solidFill>
              </a:defRPr>
            </a:lvl1pPr>
          </a:lstStyle>
          <a:p>
            <a:r>
              <a:rPr lang="en-US"/>
              <a:t>Thank You</a:t>
            </a:r>
            <a:endParaRPr lang="en-AU"/>
          </a:p>
        </p:txBody>
      </p:sp>
      <p:sp>
        <p:nvSpPr>
          <p:cNvPr id="4" name="Text Placeholder 8">
            <a:extLst>
              <a:ext uri="{FF2B5EF4-FFF2-40B4-BE49-F238E27FC236}">
                <a16:creationId xmlns:a16="http://schemas.microsoft.com/office/drawing/2014/main" id="{49395E8C-2043-558C-DB8F-2BA0BAECC652}"/>
              </a:ext>
            </a:extLst>
          </p:cNvPr>
          <p:cNvSpPr>
            <a:spLocks noGrp="1"/>
          </p:cNvSpPr>
          <p:nvPr>
            <p:ph type="body" sz="quarter" idx="10" hasCustomPrompt="1"/>
          </p:nvPr>
        </p:nvSpPr>
        <p:spPr>
          <a:xfrm>
            <a:off x="479425" y="1481895"/>
            <a:ext cx="11268000" cy="10800"/>
          </a:xfrm>
          <a:solidFill>
            <a:schemeClr val="bg1"/>
          </a:solidFill>
        </p:spPr>
        <p:txBody>
          <a:bodyPr/>
          <a:lstStyle>
            <a:lvl1pPr>
              <a:defRPr/>
            </a:lvl1pPr>
          </a:lstStyle>
          <a:p>
            <a:pPr lvl="0"/>
            <a:r>
              <a:rPr lang="en-US"/>
              <a:t> </a:t>
            </a:r>
            <a:endParaRPr lang="en-AU"/>
          </a:p>
        </p:txBody>
      </p:sp>
      <p:sp>
        <p:nvSpPr>
          <p:cNvPr id="6" name="Text Placeholder 8">
            <a:extLst>
              <a:ext uri="{FF2B5EF4-FFF2-40B4-BE49-F238E27FC236}">
                <a16:creationId xmlns:a16="http://schemas.microsoft.com/office/drawing/2014/main" id="{FE20994F-CA5A-7773-0B6C-2EC812F04F46}"/>
              </a:ext>
            </a:extLst>
          </p:cNvPr>
          <p:cNvSpPr>
            <a:spLocks noGrp="1"/>
          </p:cNvSpPr>
          <p:nvPr>
            <p:ph type="body" sz="quarter" idx="11" hasCustomPrompt="1"/>
          </p:nvPr>
        </p:nvSpPr>
        <p:spPr>
          <a:xfrm>
            <a:off x="479425" y="3566727"/>
            <a:ext cx="11268000" cy="10800"/>
          </a:xfrm>
          <a:solidFill>
            <a:schemeClr val="bg1"/>
          </a:solidFill>
        </p:spPr>
        <p:txBody>
          <a:bodyPr/>
          <a:lstStyle>
            <a:lvl1pPr>
              <a:defRPr/>
            </a:lvl1pPr>
          </a:lstStyle>
          <a:p>
            <a:pPr lvl="0"/>
            <a:r>
              <a:rPr lang="en-US"/>
              <a:t> </a:t>
            </a:r>
            <a:endParaRPr lang="en-AU"/>
          </a:p>
        </p:txBody>
      </p:sp>
      <p:sp>
        <p:nvSpPr>
          <p:cNvPr id="22" name="Text Placeholder 21">
            <a:extLst>
              <a:ext uri="{FF2B5EF4-FFF2-40B4-BE49-F238E27FC236}">
                <a16:creationId xmlns:a16="http://schemas.microsoft.com/office/drawing/2014/main" id="{4DD5F2FC-66BA-538C-441F-8B6F9CE26CAF}"/>
              </a:ext>
            </a:extLst>
          </p:cNvPr>
          <p:cNvSpPr>
            <a:spLocks noGrp="1"/>
          </p:cNvSpPr>
          <p:nvPr>
            <p:ph type="body" sz="quarter" idx="12" hasCustomPrompt="1"/>
          </p:nvPr>
        </p:nvSpPr>
        <p:spPr>
          <a:xfrm>
            <a:off x="6956907" y="1689564"/>
            <a:ext cx="4797184" cy="1412452"/>
          </a:xfrm>
        </p:spPr>
        <p:txBody>
          <a:bodyPr/>
          <a:lstStyle>
            <a:lvl1pPr>
              <a:spcAft>
                <a:spcPts val="0"/>
              </a:spcAft>
              <a:defRPr sz="1500" b="1">
                <a:solidFill>
                  <a:schemeClr val="accent2"/>
                </a:solidFill>
              </a:defRPr>
            </a:lvl1pPr>
            <a:lvl2pPr marL="0" indent="0">
              <a:spcAft>
                <a:spcPts val="0"/>
              </a:spcAft>
              <a:buNone/>
              <a:defRPr sz="1500" b="1">
                <a:solidFill>
                  <a:schemeClr val="bg1"/>
                </a:solidFill>
              </a:defRPr>
            </a:lvl2pPr>
          </a:lstStyle>
          <a:p>
            <a:pPr lvl="0"/>
            <a:r>
              <a:rPr lang="en-US"/>
              <a:t>Get in Touch</a:t>
            </a:r>
          </a:p>
          <a:p>
            <a:pPr lvl="1"/>
            <a:r>
              <a:rPr lang="en-US"/>
              <a:t>+001 123 45 678 99</a:t>
            </a:r>
          </a:p>
          <a:p>
            <a:pPr lvl="1"/>
            <a:r>
              <a:rPr lang="en-US"/>
              <a:t>info@softwareone.com </a:t>
            </a:r>
          </a:p>
          <a:p>
            <a:pPr lvl="1"/>
            <a:r>
              <a:rPr lang="en-US"/>
              <a:t>7788 One City, One Country</a:t>
            </a:r>
          </a:p>
        </p:txBody>
      </p:sp>
      <p:sp>
        <p:nvSpPr>
          <p:cNvPr id="3" name="Rectangle 2">
            <a:extLst>
              <a:ext uri="{FF2B5EF4-FFF2-40B4-BE49-F238E27FC236}">
                <a16:creationId xmlns:a16="http://schemas.microsoft.com/office/drawing/2014/main" id="{51373A4E-2151-FD5A-E7AC-BC6DDFAEF897}"/>
              </a:ext>
            </a:extLst>
          </p:cNvPr>
          <p:cNvSpPr/>
          <p:nvPr userDrawn="1"/>
        </p:nvSpPr>
        <p:spPr>
          <a:xfrm>
            <a:off x="9410218" y="6041403"/>
            <a:ext cx="2417180" cy="5214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4" name="Graphic 12">
            <a:extLst>
              <a:ext uri="{FF2B5EF4-FFF2-40B4-BE49-F238E27FC236}">
                <a16:creationId xmlns:a16="http://schemas.microsoft.com/office/drawing/2014/main" id="{4495F24D-6E27-CB42-E61E-C5A266FFB3B7}"/>
              </a:ext>
            </a:extLst>
          </p:cNvPr>
          <p:cNvGrpSpPr/>
          <p:nvPr userDrawn="1"/>
        </p:nvGrpSpPr>
        <p:grpSpPr>
          <a:xfrm>
            <a:off x="4406014" y="3950038"/>
            <a:ext cx="7306561" cy="2549145"/>
            <a:chOff x="544194" y="1803553"/>
            <a:chExt cx="11044607" cy="3853290"/>
          </a:xfrm>
          <a:solidFill>
            <a:schemeClr val="tx1"/>
          </a:solidFill>
        </p:grpSpPr>
        <p:sp>
          <p:nvSpPr>
            <p:cNvPr id="15" name="Freeform: Shape 14">
              <a:extLst>
                <a:ext uri="{FF2B5EF4-FFF2-40B4-BE49-F238E27FC236}">
                  <a16:creationId xmlns:a16="http://schemas.microsoft.com/office/drawing/2014/main" id="{0066D90C-4C99-470A-7531-C48BEEACDB34}"/>
                </a:ext>
              </a:extLst>
            </p:cNvPr>
            <p:cNvSpPr/>
            <p:nvPr/>
          </p:nvSpPr>
          <p:spPr>
            <a:xfrm>
              <a:off x="544194" y="1803553"/>
              <a:ext cx="11044607" cy="3853290"/>
            </a:xfrm>
            <a:custGeom>
              <a:avLst/>
              <a:gdLst>
                <a:gd name="connsiteX0" fmla="*/ 9185820 w 11044607"/>
                <a:gd name="connsiteY0" fmla="*/ 796494 h 3853290"/>
                <a:gd name="connsiteX1" fmla="*/ 9894834 w 11044607"/>
                <a:gd name="connsiteY1" fmla="*/ 1510737 h 3853290"/>
                <a:gd name="connsiteX2" fmla="*/ 8420696 w 11044607"/>
                <a:gd name="connsiteY2" fmla="*/ 1510737 h 3853290"/>
                <a:gd name="connsiteX3" fmla="*/ 9185820 w 11044607"/>
                <a:gd name="connsiteY3" fmla="*/ 796494 h 3853290"/>
                <a:gd name="connsiteX4" fmla="*/ 9250218 w 11044607"/>
                <a:gd name="connsiteY4" fmla="*/ 3042514 h 3853290"/>
                <a:gd name="connsiteX5" fmla="*/ 8410240 w 11044607"/>
                <a:gd name="connsiteY5" fmla="*/ 2226255 h 3853290"/>
                <a:gd name="connsiteX6" fmla="*/ 8407434 w 11044607"/>
                <a:gd name="connsiteY6" fmla="*/ 2206872 h 3853290"/>
                <a:gd name="connsiteX7" fmla="*/ 11044560 w 11044607"/>
                <a:gd name="connsiteY7" fmla="*/ 2206872 h 3853290"/>
                <a:gd name="connsiteX8" fmla="*/ 10405682 w 11044607"/>
                <a:gd name="connsiteY8" fmla="*/ 453718 h 3853290"/>
                <a:gd name="connsiteX9" fmla="*/ 9164269 w 11044607"/>
                <a:gd name="connsiteY9" fmla="*/ 0 h 3853290"/>
                <a:gd name="connsiteX10" fmla="*/ 7323892 w 11044607"/>
                <a:gd name="connsiteY10" fmla="*/ 1579853 h 3853290"/>
                <a:gd name="connsiteX11" fmla="*/ 7323892 w 11044607"/>
                <a:gd name="connsiteY11" fmla="*/ 1371867 h 3853290"/>
                <a:gd name="connsiteX12" fmla="*/ 6076230 w 11044607"/>
                <a:gd name="connsiteY12" fmla="*/ 0 h 3853290"/>
                <a:gd name="connsiteX13" fmla="*/ 4945249 w 11044607"/>
                <a:gd name="connsiteY13" fmla="*/ 608528 h 3853290"/>
                <a:gd name="connsiteX14" fmla="*/ 4923826 w 11044607"/>
                <a:gd name="connsiteY14" fmla="*/ 608528 h 3853290"/>
                <a:gd name="connsiteX15" fmla="*/ 4923826 w 11044607"/>
                <a:gd name="connsiteY15" fmla="*/ 107372 h 3853290"/>
                <a:gd name="connsiteX16" fmla="*/ 3826384 w 11044607"/>
                <a:gd name="connsiteY16" fmla="*/ 107372 h 3853290"/>
                <a:gd name="connsiteX17" fmla="*/ 3826384 w 11044607"/>
                <a:gd name="connsiteY17" fmla="*/ 1616579 h 3853290"/>
                <a:gd name="connsiteX18" fmla="*/ 1925816 w 11044607"/>
                <a:gd name="connsiteY18" fmla="*/ 1658 h 3853290"/>
                <a:gd name="connsiteX19" fmla="*/ 0 w 11044607"/>
                <a:gd name="connsiteY19" fmla="*/ 1927474 h 3853290"/>
                <a:gd name="connsiteX20" fmla="*/ 1925816 w 11044607"/>
                <a:gd name="connsiteY20" fmla="*/ 3853290 h 3853290"/>
                <a:gd name="connsiteX21" fmla="*/ 3826256 w 11044607"/>
                <a:gd name="connsiteY21" fmla="*/ 2238369 h 3853290"/>
                <a:gd name="connsiteX22" fmla="*/ 3826256 w 11044607"/>
                <a:gd name="connsiteY22" fmla="*/ 3738777 h 3853290"/>
                <a:gd name="connsiteX23" fmla="*/ 4949585 w 11044607"/>
                <a:gd name="connsiteY23" fmla="*/ 3738777 h 3853290"/>
                <a:gd name="connsiteX24" fmla="*/ 4949585 w 11044607"/>
                <a:gd name="connsiteY24" fmla="*/ 1729817 h 3853290"/>
                <a:gd name="connsiteX25" fmla="*/ 5610907 w 11044607"/>
                <a:gd name="connsiteY25" fmla="*/ 939699 h 3853290"/>
                <a:gd name="connsiteX26" fmla="*/ 6200562 w 11044607"/>
                <a:gd name="connsiteY26" fmla="*/ 1608162 h 3853290"/>
                <a:gd name="connsiteX27" fmla="*/ 6200562 w 11044607"/>
                <a:gd name="connsiteY27" fmla="*/ 3738904 h 3853290"/>
                <a:gd name="connsiteX28" fmla="*/ 7323892 w 11044607"/>
                <a:gd name="connsiteY28" fmla="*/ 3738904 h 3853290"/>
                <a:gd name="connsiteX29" fmla="*/ 7323892 w 11044607"/>
                <a:gd name="connsiteY29" fmla="*/ 2264256 h 3853290"/>
                <a:gd name="connsiteX30" fmla="*/ 9235808 w 11044607"/>
                <a:gd name="connsiteY30" fmla="*/ 3846276 h 3853290"/>
                <a:gd name="connsiteX31" fmla="*/ 10371507 w 11044607"/>
                <a:gd name="connsiteY31" fmla="*/ 3512810 h 3853290"/>
                <a:gd name="connsiteX32" fmla="*/ 10975189 w 11044607"/>
                <a:gd name="connsiteY32" fmla="*/ 2677423 h 3853290"/>
                <a:gd name="connsiteX33" fmla="*/ 9869586 w 11044607"/>
                <a:gd name="connsiteY33" fmla="*/ 2677423 h 3853290"/>
                <a:gd name="connsiteX34" fmla="*/ 9250090 w 11044607"/>
                <a:gd name="connsiteY34" fmla="*/ 3042514 h 385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044607" h="3853290">
                  <a:moveTo>
                    <a:pt x="9185820" y="796494"/>
                  </a:moveTo>
                  <a:cubicBezTo>
                    <a:pt x="9569147" y="796494"/>
                    <a:pt x="9845612" y="1076401"/>
                    <a:pt x="9894834" y="1510737"/>
                  </a:cubicBezTo>
                  <a:lnTo>
                    <a:pt x="8420696" y="1510737"/>
                  </a:lnTo>
                  <a:cubicBezTo>
                    <a:pt x="8510726" y="1036998"/>
                    <a:pt x="8767935" y="796494"/>
                    <a:pt x="9185820" y="796494"/>
                  </a:cubicBezTo>
                  <a:moveTo>
                    <a:pt x="9250218" y="3042514"/>
                  </a:moveTo>
                  <a:cubicBezTo>
                    <a:pt x="8784768" y="3042514"/>
                    <a:pt x="8486369" y="2752532"/>
                    <a:pt x="8410240" y="2226255"/>
                  </a:cubicBezTo>
                  <a:lnTo>
                    <a:pt x="8407434" y="2206872"/>
                  </a:lnTo>
                  <a:lnTo>
                    <a:pt x="11044560" y="2206872"/>
                  </a:lnTo>
                  <a:cubicBezTo>
                    <a:pt x="11048386" y="1457816"/>
                    <a:pt x="10821782" y="835770"/>
                    <a:pt x="10405682" y="453718"/>
                  </a:cubicBezTo>
                  <a:cubicBezTo>
                    <a:pt x="10074511" y="152642"/>
                    <a:pt x="9656754" y="0"/>
                    <a:pt x="9164269" y="0"/>
                  </a:cubicBezTo>
                  <a:cubicBezTo>
                    <a:pt x="8195750" y="0"/>
                    <a:pt x="7465567" y="646912"/>
                    <a:pt x="7323892" y="1579853"/>
                  </a:cubicBezTo>
                  <a:lnTo>
                    <a:pt x="7323892" y="1371867"/>
                  </a:lnTo>
                  <a:cubicBezTo>
                    <a:pt x="7323892" y="538520"/>
                    <a:pt x="6839951" y="0"/>
                    <a:pt x="6076230" y="0"/>
                  </a:cubicBezTo>
                  <a:cubicBezTo>
                    <a:pt x="5567933" y="0"/>
                    <a:pt x="5217251" y="214745"/>
                    <a:pt x="4945249" y="608528"/>
                  </a:cubicBezTo>
                  <a:lnTo>
                    <a:pt x="4923826" y="608528"/>
                  </a:lnTo>
                  <a:lnTo>
                    <a:pt x="4923826" y="107372"/>
                  </a:lnTo>
                  <a:lnTo>
                    <a:pt x="3826384" y="107372"/>
                  </a:lnTo>
                  <a:lnTo>
                    <a:pt x="3826384" y="1616579"/>
                  </a:lnTo>
                  <a:cubicBezTo>
                    <a:pt x="3677184" y="702001"/>
                    <a:pt x="2881966" y="1658"/>
                    <a:pt x="1925816" y="1658"/>
                  </a:cubicBezTo>
                  <a:cubicBezTo>
                    <a:pt x="863952" y="1658"/>
                    <a:pt x="0" y="865482"/>
                    <a:pt x="0" y="1927474"/>
                  </a:cubicBezTo>
                  <a:cubicBezTo>
                    <a:pt x="0" y="2989465"/>
                    <a:pt x="863952" y="3853290"/>
                    <a:pt x="1925816" y="3853290"/>
                  </a:cubicBezTo>
                  <a:cubicBezTo>
                    <a:pt x="2881839" y="3853290"/>
                    <a:pt x="3677057" y="3152947"/>
                    <a:pt x="3826256" y="2238369"/>
                  </a:cubicBezTo>
                  <a:lnTo>
                    <a:pt x="3826256" y="3738777"/>
                  </a:lnTo>
                  <a:lnTo>
                    <a:pt x="4949585" y="3738777"/>
                  </a:lnTo>
                  <a:lnTo>
                    <a:pt x="4949585" y="1729817"/>
                  </a:lnTo>
                  <a:cubicBezTo>
                    <a:pt x="4949585" y="1264622"/>
                    <a:pt x="5221459" y="939699"/>
                    <a:pt x="5610907" y="939699"/>
                  </a:cubicBezTo>
                  <a:cubicBezTo>
                    <a:pt x="5980080" y="939699"/>
                    <a:pt x="6200562" y="1189640"/>
                    <a:pt x="6200562" y="1608162"/>
                  </a:cubicBezTo>
                  <a:lnTo>
                    <a:pt x="6200562" y="3738904"/>
                  </a:lnTo>
                  <a:lnTo>
                    <a:pt x="7323892" y="3738904"/>
                  </a:lnTo>
                  <a:lnTo>
                    <a:pt x="7323892" y="2264256"/>
                  </a:lnTo>
                  <a:cubicBezTo>
                    <a:pt x="7465439" y="3223721"/>
                    <a:pt x="8197918" y="3846276"/>
                    <a:pt x="9235808" y="3846276"/>
                  </a:cubicBezTo>
                  <a:cubicBezTo>
                    <a:pt x="9678432" y="3846276"/>
                    <a:pt x="10050027" y="3737246"/>
                    <a:pt x="10371507" y="3512810"/>
                  </a:cubicBezTo>
                  <a:cubicBezTo>
                    <a:pt x="10677173" y="3302273"/>
                    <a:pt x="10890770" y="3006426"/>
                    <a:pt x="10975189" y="2677423"/>
                  </a:cubicBezTo>
                  <a:lnTo>
                    <a:pt x="9869586" y="2677423"/>
                  </a:lnTo>
                  <a:cubicBezTo>
                    <a:pt x="9760682" y="2916396"/>
                    <a:pt x="9546703" y="3042514"/>
                    <a:pt x="9250090" y="3042514"/>
                  </a:cubicBezTo>
                </a:path>
              </a:pathLst>
            </a:custGeom>
            <a:solidFill>
              <a:schemeClr val="bg1"/>
            </a:solidFill>
            <a:ln w="12748"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135EEA4B-5438-934C-F817-C6659D3C156D}"/>
                </a:ext>
              </a:extLst>
            </p:cNvPr>
            <p:cNvSpPr/>
            <p:nvPr/>
          </p:nvSpPr>
          <p:spPr>
            <a:xfrm>
              <a:off x="704232" y="3467314"/>
              <a:ext cx="448745" cy="511357"/>
            </a:xfrm>
            <a:custGeom>
              <a:avLst/>
              <a:gdLst>
                <a:gd name="connsiteX0" fmla="*/ 264860 w 448745"/>
                <a:gd name="connsiteY0" fmla="*/ 193066 h 511357"/>
                <a:gd name="connsiteX1" fmla="*/ 146011 w 448745"/>
                <a:gd name="connsiteY1" fmla="*/ 139635 h 511357"/>
                <a:gd name="connsiteX2" fmla="*/ 217678 w 448745"/>
                <a:gd name="connsiteY2" fmla="*/ 90667 h 511357"/>
                <a:gd name="connsiteX3" fmla="*/ 299291 w 448745"/>
                <a:gd name="connsiteY3" fmla="*/ 142313 h 511357"/>
                <a:gd name="connsiteX4" fmla="*/ 431657 w 448745"/>
                <a:gd name="connsiteY4" fmla="*/ 142313 h 511357"/>
                <a:gd name="connsiteX5" fmla="*/ 217678 w 448745"/>
                <a:gd name="connsiteY5" fmla="*/ 0 h 511357"/>
                <a:gd name="connsiteX6" fmla="*/ 14537 w 448745"/>
                <a:gd name="connsiteY6" fmla="*/ 150474 h 511357"/>
                <a:gd name="connsiteX7" fmla="*/ 187710 w 448745"/>
                <a:gd name="connsiteY7" fmla="*/ 300949 h 511357"/>
                <a:gd name="connsiteX8" fmla="*/ 311915 w 448745"/>
                <a:gd name="connsiteY8" fmla="*/ 362669 h 511357"/>
                <a:gd name="connsiteX9" fmla="*/ 232088 w 448745"/>
                <a:gd name="connsiteY9" fmla="*/ 418013 h 511357"/>
                <a:gd name="connsiteX10" fmla="*/ 134152 w 448745"/>
                <a:gd name="connsiteY10" fmla="*/ 347239 h 511357"/>
                <a:gd name="connsiteX11" fmla="*/ 0 w 448745"/>
                <a:gd name="connsiteY11" fmla="*/ 347239 h 511357"/>
                <a:gd name="connsiteX12" fmla="*/ 231195 w 448745"/>
                <a:gd name="connsiteY12" fmla="*/ 511358 h 511357"/>
                <a:gd name="connsiteX13" fmla="*/ 448745 w 448745"/>
                <a:gd name="connsiteY13" fmla="*/ 352722 h 511357"/>
                <a:gd name="connsiteX14" fmla="*/ 264733 w 448745"/>
                <a:gd name="connsiteY14" fmla="*/ 193066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745" h="511357">
                  <a:moveTo>
                    <a:pt x="264860" y="193066"/>
                  </a:moveTo>
                  <a:cubicBezTo>
                    <a:pt x="198677" y="181334"/>
                    <a:pt x="146011" y="175851"/>
                    <a:pt x="146011" y="139635"/>
                  </a:cubicBezTo>
                  <a:cubicBezTo>
                    <a:pt x="146011" y="108775"/>
                    <a:pt x="174193" y="90667"/>
                    <a:pt x="217678" y="90667"/>
                  </a:cubicBezTo>
                  <a:cubicBezTo>
                    <a:pt x="261162" y="90667"/>
                    <a:pt x="290237" y="107882"/>
                    <a:pt x="299291" y="142313"/>
                  </a:cubicBezTo>
                  <a:lnTo>
                    <a:pt x="431657" y="142313"/>
                  </a:lnTo>
                  <a:cubicBezTo>
                    <a:pt x="418905" y="58022"/>
                    <a:pt x="351829" y="0"/>
                    <a:pt x="217678" y="0"/>
                  </a:cubicBezTo>
                  <a:cubicBezTo>
                    <a:pt x="104312" y="0"/>
                    <a:pt x="14537" y="51646"/>
                    <a:pt x="14537" y="150474"/>
                  </a:cubicBezTo>
                  <a:cubicBezTo>
                    <a:pt x="14537" y="262947"/>
                    <a:pt x="101634" y="284626"/>
                    <a:pt x="187710" y="300949"/>
                  </a:cubicBezTo>
                  <a:cubicBezTo>
                    <a:pt x="254786" y="313701"/>
                    <a:pt x="311915" y="319057"/>
                    <a:pt x="311915" y="362669"/>
                  </a:cubicBezTo>
                  <a:cubicBezTo>
                    <a:pt x="311915" y="397099"/>
                    <a:pt x="282841" y="418013"/>
                    <a:pt x="232088" y="418013"/>
                  </a:cubicBezTo>
                  <a:cubicBezTo>
                    <a:pt x="176744" y="418013"/>
                    <a:pt x="142313" y="392636"/>
                    <a:pt x="134152" y="347239"/>
                  </a:cubicBezTo>
                  <a:lnTo>
                    <a:pt x="0" y="347239"/>
                  </a:lnTo>
                  <a:cubicBezTo>
                    <a:pt x="7269" y="444282"/>
                    <a:pt x="91560" y="511358"/>
                    <a:pt x="231195" y="511358"/>
                  </a:cubicBezTo>
                  <a:cubicBezTo>
                    <a:pt x="356293" y="511358"/>
                    <a:pt x="448745" y="456906"/>
                    <a:pt x="448745" y="352722"/>
                  </a:cubicBezTo>
                  <a:cubicBezTo>
                    <a:pt x="448745" y="231195"/>
                    <a:pt x="350809" y="208496"/>
                    <a:pt x="264733" y="193066"/>
                  </a:cubicBezTo>
                </a:path>
              </a:pathLst>
            </a:custGeom>
            <a:grpFill/>
            <a:ln w="12748"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6B734B65-9949-5BEF-55F4-D3F7F383618F}"/>
                </a:ext>
              </a:extLst>
            </p:cNvPr>
            <p:cNvSpPr/>
            <p:nvPr/>
          </p:nvSpPr>
          <p:spPr>
            <a:xfrm>
              <a:off x="1164964" y="3467186"/>
              <a:ext cx="509572" cy="511357"/>
            </a:xfrm>
            <a:custGeom>
              <a:avLst/>
              <a:gdLst>
                <a:gd name="connsiteX0" fmla="*/ 254786 w 509572"/>
                <a:gd name="connsiteY0" fmla="*/ 408066 h 511357"/>
                <a:gd name="connsiteX1" fmla="*/ 144226 w 509572"/>
                <a:gd name="connsiteY1" fmla="*/ 255679 h 511357"/>
                <a:gd name="connsiteX2" fmla="*/ 254786 w 509572"/>
                <a:gd name="connsiteY2" fmla="*/ 101506 h 511357"/>
                <a:gd name="connsiteX3" fmla="*/ 365347 w 509572"/>
                <a:gd name="connsiteY3" fmla="*/ 255679 h 511357"/>
                <a:gd name="connsiteX4" fmla="*/ 254786 w 509572"/>
                <a:gd name="connsiteY4" fmla="*/ 408066 h 511357"/>
                <a:gd name="connsiteX5" fmla="*/ 255679 w 509572"/>
                <a:gd name="connsiteY5" fmla="*/ 0 h 511357"/>
                <a:gd name="connsiteX6" fmla="*/ 0 w 509572"/>
                <a:gd name="connsiteY6" fmla="*/ 255679 h 511357"/>
                <a:gd name="connsiteX7" fmla="*/ 255679 w 509572"/>
                <a:gd name="connsiteY7" fmla="*/ 511357 h 511357"/>
                <a:gd name="connsiteX8" fmla="*/ 509572 w 509572"/>
                <a:gd name="connsiteY8" fmla="*/ 255679 h 511357"/>
                <a:gd name="connsiteX9" fmla="*/ 255679 w 509572"/>
                <a:gd name="connsiteY9" fmla="*/ 0 h 51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72" h="511357">
                  <a:moveTo>
                    <a:pt x="254786" y="408066"/>
                  </a:moveTo>
                  <a:cubicBezTo>
                    <a:pt x="182227" y="408066"/>
                    <a:pt x="144226" y="346346"/>
                    <a:pt x="144226" y="255679"/>
                  </a:cubicBezTo>
                  <a:cubicBezTo>
                    <a:pt x="144226" y="165011"/>
                    <a:pt x="182227" y="101506"/>
                    <a:pt x="254786" y="101506"/>
                  </a:cubicBezTo>
                  <a:cubicBezTo>
                    <a:pt x="327345" y="101506"/>
                    <a:pt x="365347" y="163992"/>
                    <a:pt x="365347" y="255679"/>
                  </a:cubicBezTo>
                  <a:cubicBezTo>
                    <a:pt x="365347" y="347366"/>
                    <a:pt x="325433" y="408066"/>
                    <a:pt x="254786" y="408066"/>
                  </a:cubicBezTo>
                  <a:moveTo>
                    <a:pt x="255679" y="0"/>
                  </a:moveTo>
                  <a:cubicBezTo>
                    <a:pt x="101506" y="0"/>
                    <a:pt x="0" y="110560"/>
                    <a:pt x="0" y="255679"/>
                  </a:cubicBezTo>
                  <a:cubicBezTo>
                    <a:pt x="0" y="400797"/>
                    <a:pt x="101506" y="511357"/>
                    <a:pt x="255679" y="511357"/>
                  </a:cubicBezTo>
                  <a:cubicBezTo>
                    <a:pt x="409851" y="511357"/>
                    <a:pt x="509572" y="399905"/>
                    <a:pt x="509572" y="255679"/>
                  </a:cubicBezTo>
                  <a:cubicBezTo>
                    <a:pt x="509572" y="111453"/>
                    <a:pt x="408959" y="0"/>
                    <a:pt x="255679" y="0"/>
                  </a:cubicBezTo>
                </a:path>
              </a:pathLst>
            </a:custGeom>
            <a:grpFill/>
            <a:ln w="12748"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16EA3AB4-096C-24D7-20D0-2126EA0B2DFE}"/>
                </a:ext>
              </a:extLst>
            </p:cNvPr>
            <p:cNvSpPr/>
            <p:nvPr/>
          </p:nvSpPr>
          <p:spPr>
            <a:xfrm>
              <a:off x="1657193" y="3288479"/>
              <a:ext cx="1320093" cy="680117"/>
            </a:xfrm>
            <a:custGeom>
              <a:avLst/>
              <a:gdLst>
                <a:gd name="connsiteX0" fmla="*/ 1179693 w 1320093"/>
                <a:gd name="connsiteY0" fmla="*/ 192352 h 680117"/>
                <a:gd name="connsiteX1" fmla="*/ 1128047 w 1320093"/>
                <a:gd name="connsiteY1" fmla="*/ 380062 h 680117"/>
                <a:gd name="connsiteX2" fmla="*/ 1098973 w 1320093"/>
                <a:gd name="connsiteY2" fmla="*/ 530536 h 680117"/>
                <a:gd name="connsiteX3" fmla="*/ 1097188 w 1320093"/>
                <a:gd name="connsiteY3" fmla="*/ 530536 h 680117"/>
                <a:gd name="connsiteX4" fmla="*/ 1065435 w 1320093"/>
                <a:gd name="connsiteY4" fmla="*/ 378149 h 680117"/>
                <a:gd name="connsiteX5" fmla="*/ 1014682 w 1320093"/>
                <a:gd name="connsiteY5" fmla="*/ 192224 h 680117"/>
                <a:gd name="connsiteX6" fmla="*/ 894047 w 1320093"/>
                <a:gd name="connsiteY6" fmla="*/ 192224 h 680117"/>
                <a:gd name="connsiteX7" fmla="*/ 845079 w 1320093"/>
                <a:gd name="connsiteY7" fmla="*/ 378149 h 680117"/>
                <a:gd name="connsiteX8" fmla="*/ 814219 w 1320093"/>
                <a:gd name="connsiteY8" fmla="*/ 529644 h 680117"/>
                <a:gd name="connsiteX9" fmla="*/ 812434 w 1320093"/>
                <a:gd name="connsiteY9" fmla="*/ 529644 h 680117"/>
                <a:gd name="connsiteX10" fmla="*/ 784379 w 1320093"/>
                <a:gd name="connsiteY10" fmla="*/ 380062 h 680117"/>
                <a:gd name="connsiteX11" fmla="*/ 733626 w 1320093"/>
                <a:gd name="connsiteY11" fmla="*/ 192352 h 680117"/>
                <a:gd name="connsiteX12" fmla="*/ 517861 w 1320093"/>
                <a:gd name="connsiteY12" fmla="*/ 192352 h 680117"/>
                <a:gd name="connsiteX13" fmla="*/ 517861 w 1320093"/>
                <a:gd name="connsiteY13" fmla="*/ 38179 h 680117"/>
                <a:gd name="connsiteX14" fmla="*/ 378226 w 1320093"/>
                <a:gd name="connsiteY14" fmla="*/ 38179 h 680117"/>
                <a:gd name="connsiteX15" fmla="*/ 378226 w 1320093"/>
                <a:gd name="connsiteY15" fmla="*/ 192352 h 680117"/>
                <a:gd name="connsiteX16" fmla="*/ 214872 w 1320093"/>
                <a:gd name="connsiteY16" fmla="*/ 192352 h 680117"/>
                <a:gd name="connsiteX17" fmla="*/ 214872 w 1320093"/>
                <a:gd name="connsiteY17" fmla="*/ 161492 h 680117"/>
                <a:gd name="connsiteX18" fmla="*/ 315486 w 1320093"/>
                <a:gd name="connsiteY18" fmla="*/ 105255 h 680117"/>
                <a:gd name="connsiteX19" fmla="*/ 315486 w 1320093"/>
                <a:gd name="connsiteY19" fmla="*/ 3621 h 680117"/>
                <a:gd name="connsiteX20" fmla="*/ 256572 w 1320093"/>
                <a:gd name="connsiteY20" fmla="*/ 51 h 680117"/>
                <a:gd name="connsiteX21" fmla="*/ 113366 w 1320093"/>
                <a:gd name="connsiteY21" fmla="*/ 38179 h 680117"/>
                <a:gd name="connsiteX22" fmla="*/ 72559 w 1320093"/>
                <a:gd name="connsiteY22" fmla="*/ 151545 h 680117"/>
                <a:gd name="connsiteX23" fmla="*/ 72559 w 1320093"/>
                <a:gd name="connsiteY23" fmla="*/ 192352 h 680117"/>
                <a:gd name="connsiteX24" fmla="*/ 0 w 1320093"/>
                <a:gd name="connsiteY24" fmla="*/ 192352 h 680117"/>
                <a:gd name="connsiteX25" fmla="*/ 0 w 1320093"/>
                <a:gd name="connsiteY25" fmla="*/ 291945 h 680117"/>
                <a:gd name="connsiteX26" fmla="*/ 72559 w 1320093"/>
                <a:gd name="connsiteY26" fmla="*/ 291945 h 680117"/>
                <a:gd name="connsiteX27" fmla="*/ 72559 w 1320093"/>
                <a:gd name="connsiteY27" fmla="*/ 674635 h 680117"/>
                <a:gd name="connsiteX28" fmla="*/ 214872 w 1320093"/>
                <a:gd name="connsiteY28" fmla="*/ 674635 h 680117"/>
                <a:gd name="connsiteX29" fmla="*/ 214872 w 1320093"/>
                <a:gd name="connsiteY29" fmla="*/ 291945 h 680117"/>
                <a:gd name="connsiteX30" fmla="*/ 378226 w 1320093"/>
                <a:gd name="connsiteY30" fmla="*/ 291945 h 680117"/>
                <a:gd name="connsiteX31" fmla="*/ 378226 w 1320093"/>
                <a:gd name="connsiteY31" fmla="*/ 553235 h 680117"/>
                <a:gd name="connsiteX32" fmla="*/ 528701 w 1320093"/>
                <a:gd name="connsiteY32" fmla="*/ 680118 h 680117"/>
                <a:gd name="connsiteX33" fmla="*/ 611206 w 1320093"/>
                <a:gd name="connsiteY33" fmla="*/ 672849 h 680117"/>
                <a:gd name="connsiteX34" fmla="*/ 611206 w 1320093"/>
                <a:gd name="connsiteY34" fmla="*/ 566752 h 680117"/>
                <a:gd name="connsiteX35" fmla="*/ 603938 w 1320093"/>
                <a:gd name="connsiteY35" fmla="*/ 566752 h 680117"/>
                <a:gd name="connsiteX36" fmla="*/ 571292 w 1320093"/>
                <a:gd name="connsiteY36" fmla="*/ 568538 h 680117"/>
                <a:gd name="connsiteX37" fmla="*/ 517861 w 1320093"/>
                <a:gd name="connsiteY37" fmla="*/ 522247 h 680117"/>
                <a:gd name="connsiteX38" fmla="*/ 517861 w 1320093"/>
                <a:gd name="connsiteY38" fmla="*/ 291818 h 680117"/>
                <a:gd name="connsiteX39" fmla="*/ 619240 w 1320093"/>
                <a:gd name="connsiteY39" fmla="*/ 291818 h 680117"/>
                <a:gd name="connsiteX40" fmla="*/ 737197 w 1320093"/>
                <a:gd name="connsiteY40" fmla="*/ 674507 h 680117"/>
                <a:gd name="connsiteX41" fmla="*/ 869563 w 1320093"/>
                <a:gd name="connsiteY41" fmla="*/ 674507 h 680117"/>
                <a:gd name="connsiteX42" fmla="*/ 922102 w 1320093"/>
                <a:gd name="connsiteY42" fmla="*/ 477743 h 680117"/>
                <a:gd name="connsiteX43" fmla="*/ 953854 w 1320093"/>
                <a:gd name="connsiteY43" fmla="*/ 329947 h 680117"/>
                <a:gd name="connsiteX44" fmla="*/ 955640 w 1320093"/>
                <a:gd name="connsiteY44" fmla="*/ 329947 h 680117"/>
                <a:gd name="connsiteX45" fmla="*/ 985607 w 1320093"/>
                <a:gd name="connsiteY45" fmla="*/ 477743 h 680117"/>
                <a:gd name="connsiteX46" fmla="*/ 1036360 w 1320093"/>
                <a:gd name="connsiteY46" fmla="*/ 674507 h 680117"/>
                <a:gd name="connsiteX47" fmla="*/ 1170512 w 1320093"/>
                <a:gd name="connsiteY47" fmla="*/ 674507 h 680117"/>
                <a:gd name="connsiteX48" fmla="*/ 1320093 w 1320093"/>
                <a:gd name="connsiteY48" fmla="*/ 192097 h 680117"/>
                <a:gd name="connsiteX49" fmla="*/ 1179566 w 1320093"/>
                <a:gd name="connsiteY49" fmla="*/ 192097 h 68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0093" h="680117">
                  <a:moveTo>
                    <a:pt x="1179693" y="192352"/>
                  </a:moveTo>
                  <a:lnTo>
                    <a:pt x="1128047" y="380062"/>
                  </a:lnTo>
                  <a:cubicBezTo>
                    <a:pt x="1111725" y="438084"/>
                    <a:pt x="1098973" y="530536"/>
                    <a:pt x="1098973" y="530536"/>
                  </a:cubicBezTo>
                  <a:lnTo>
                    <a:pt x="1097188" y="530536"/>
                  </a:lnTo>
                  <a:cubicBezTo>
                    <a:pt x="1097188" y="530536"/>
                    <a:pt x="1081757" y="436299"/>
                    <a:pt x="1065435" y="378149"/>
                  </a:cubicBezTo>
                  <a:lnTo>
                    <a:pt x="1014682" y="192224"/>
                  </a:lnTo>
                  <a:lnTo>
                    <a:pt x="894047" y="192224"/>
                  </a:lnTo>
                  <a:lnTo>
                    <a:pt x="845079" y="378149"/>
                  </a:lnTo>
                  <a:cubicBezTo>
                    <a:pt x="829649" y="436171"/>
                    <a:pt x="814219" y="529644"/>
                    <a:pt x="814219" y="529644"/>
                  </a:cubicBezTo>
                  <a:lnTo>
                    <a:pt x="812434" y="529644"/>
                  </a:lnTo>
                  <a:cubicBezTo>
                    <a:pt x="812434" y="529644"/>
                    <a:pt x="799682" y="437191"/>
                    <a:pt x="784379" y="380062"/>
                  </a:cubicBezTo>
                  <a:lnTo>
                    <a:pt x="733626" y="192352"/>
                  </a:lnTo>
                  <a:lnTo>
                    <a:pt x="517861" y="192352"/>
                  </a:lnTo>
                  <a:lnTo>
                    <a:pt x="517861" y="38179"/>
                  </a:lnTo>
                  <a:lnTo>
                    <a:pt x="378226" y="38179"/>
                  </a:lnTo>
                  <a:lnTo>
                    <a:pt x="378226" y="192352"/>
                  </a:lnTo>
                  <a:lnTo>
                    <a:pt x="214872" y="192352"/>
                  </a:lnTo>
                  <a:lnTo>
                    <a:pt x="214872" y="161492"/>
                  </a:lnTo>
                  <a:cubicBezTo>
                    <a:pt x="214872" y="107168"/>
                    <a:pt x="243947" y="102577"/>
                    <a:pt x="315486" y="105255"/>
                  </a:cubicBezTo>
                  <a:lnTo>
                    <a:pt x="315486" y="3621"/>
                  </a:lnTo>
                  <a:cubicBezTo>
                    <a:pt x="295593" y="943"/>
                    <a:pt x="275572" y="51"/>
                    <a:pt x="256572" y="51"/>
                  </a:cubicBezTo>
                  <a:cubicBezTo>
                    <a:pt x="194979" y="-842"/>
                    <a:pt x="145119" y="9997"/>
                    <a:pt x="113366" y="38179"/>
                  </a:cubicBezTo>
                  <a:cubicBezTo>
                    <a:pt x="85311" y="63556"/>
                    <a:pt x="72559" y="99899"/>
                    <a:pt x="72559" y="151545"/>
                  </a:cubicBezTo>
                  <a:lnTo>
                    <a:pt x="72559" y="192352"/>
                  </a:lnTo>
                  <a:lnTo>
                    <a:pt x="0" y="192352"/>
                  </a:lnTo>
                  <a:lnTo>
                    <a:pt x="0" y="291945"/>
                  </a:lnTo>
                  <a:lnTo>
                    <a:pt x="72559" y="291945"/>
                  </a:lnTo>
                  <a:lnTo>
                    <a:pt x="72559" y="674635"/>
                  </a:lnTo>
                  <a:lnTo>
                    <a:pt x="214872" y="674635"/>
                  </a:lnTo>
                  <a:lnTo>
                    <a:pt x="214872" y="291945"/>
                  </a:lnTo>
                  <a:lnTo>
                    <a:pt x="378226" y="291945"/>
                  </a:lnTo>
                  <a:lnTo>
                    <a:pt x="378226" y="553235"/>
                  </a:lnTo>
                  <a:cubicBezTo>
                    <a:pt x="378226" y="651171"/>
                    <a:pt x="438926" y="680118"/>
                    <a:pt x="528701" y="680118"/>
                  </a:cubicBezTo>
                  <a:cubicBezTo>
                    <a:pt x="566829" y="680118"/>
                    <a:pt x="595776" y="675527"/>
                    <a:pt x="611206" y="672849"/>
                  </a:cubicBezTo>
                  <a:lnTo>
                    <a:pt x="611206" y="566752"/>
                  </a:lnTo>
                  <a:lnTo>
                    <a:pt x="603938" y="566752"/>
                  </a:lnTo>
                  <a:cubicBezTo>
                    <a:pt x="594884" y="567645"/>
                    <a:pt x="580346" y="568538"/>
                    <a:pt x="571292" y="568538"/>
                  </a:cubicBezTo>
                  <a:cubicBezTo>
                    <a:pt x="537754" y="568538"/>
                    <a:pt x="517861" y="558591"/>
                    <a:pt x="517861" y="522247"/>
                  </a:cubicBezTo>
                  <a:lnTo>
                    <a:pt x="517861" y="291818"/>
                  </a:lnTo>
                  <a:lnTo>
                    <a:pt x="619240" y="291818"/>
                  </a:lnTo>
                  <a:lnTo>
                    <a:pt x="737197" y="674507"/>
                  </a:lnTo>
                  <a:lnTo>
                    <a:pt x="869563" y="674507"/>
                  </a:lnTo>
                  <a:lnTo>
                    <a:pt x="922102" y="477743"/>
                  </a:lnTo>
                  <a:cubicBezTo>
                    <a:pt x="936639" y="422399"/>
                    <a:pt x="953854" y="329947"/>
                    <a:pt x="953854" y="329947"/>
                  </a:cubicBezTo>
                  <a:lnTo>
                    <a:pt x="955640" y="329947"/>
                  </a:lnTo>
                  <a:cubicBezTo>
                    <a:pt x="955640" y="329947"/>
                    <a:pt x="971069" y="423292"/>
                    <a:pt x="985607" y="477743"/>
                  </a:cubicBezTo>
                  <a:lnTo>
                    <a:pt x="1036360" y="674507"/>
                  </a:lnTo>
                  <a:lnTo>
                    <a:pt x="1170512" y="674507"/>
                  </a:lnTo>
                  <a:lnTo>
                    <a:pt x="1320093" y="192097"/>
                  </a:lnTo>
                  <a:lnTo>
                    <a:pt x="1179566" y="192097"/>
                  </a:lnTo>
                  <a:close/>
                </a:path>
              </a:pathLst>
            </a:custGeom>
            <a:grpFill/>
            <a:ln w="12748"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0FB07BE0-1C5B-34DB-04E0-440F490C37E2}"/>
                </a:ext>
              </a:extLst>
            </p:cNvPr>
            <p:cNvSpPr/>
            <p:nvPr/>
          </p:nvSpPr>
          <p:spPr>
            <a:xfrm>
              <a:off x="2945534" y="3467059"/>
              <a:ext cx="473101" cy="508679"/>
            </a:xfrm>
            <a:custGeom>
              <a:avLst/>
              <a:gdLst>
                <a:gd name="connsiteX0" fmla="*/ 314593 w 473101"/>
                <a:gd name="connsiteY0" fmla="*/ 322882 h 508679"/>
                <a:gd name="connsiteX1" fmla="*/ 209389 w 473101"/>
                <a:gd name="connsiteY1" fmla="*/ 415335 h 508679"/>
                <a:gd name="connsiteX2" fmla="*/ 138615 w 473101"/>
                <a:gd name="connsiteY2" fmla="*/ 358205 h 508679"/>
                <a:gd name="connsiteX3" fmla="*/ 231067 w 473101"/>
                <a:gd name="connsiteY3" fmla="*/ 287432 h 508679"/>
                <a:gd name="connsiteX4" fmla="*/ 314466 w 473101"/>
                <a:gd name="connsiteY4" fmla="*/ 260270 h 508679"/>
                <a:gd name="connsiteX5" fmla="*/ 314466 w 473101"/>
                <a:gd name="connsiteY5" fmla="*/ 322882 h 508679"/>
                <a:gd name="connsiteX6" fmla="*/ 473102 w 473101"/>
                <a:gd name="connsiteY6" fmla="*/ 496055 h 508679"/>
                <a:gd name="connsiteX7" fmla="*/ 449765 w 473101"/>
                <a:gd name="connsiteY7" fmla="*/ 420818 h 508679"/>
                <a:gd name="connsiteX8" fmla="*/ 449765 w 473101"/>
                <a:gd name="connsiteY8" fmla="*/ 173300 h 508679"/>
                <a:gd name="connsiteX9" fmla="*/ 376313 w 473101"/>
                <a:gd name="connsiteY9" fmla="*/ 29075 h 508679"/>
                <a:gd name="connsiteX10" fmla="*/ 237571 w 473101"/>
                <a:gd name="connsiteY10" fmla="*/ 0 h 508679"/>
                <a:gd name="connsiteX11" fmla="*/ 23591 w 473101"/>
                <a:gd name="connsiteY11" fmla="*/ 159528 h 508679"/>
                <a:gd name="connsiteX12" fmla="*/ 155065 w 473101"/>
                <a:gd name="connsiteY12" fmla="*/ 159528 h 508679"/>
                <a:gd name="connsiteX13" fmla="*/ 239356 w 473101"/>
                <a:gd name="connsiteY13" fmla="*/ 96023 h 508679"/>
                <a:gd name="connsiteX14" fmla="*/ 311023 w 473101"/>
                <a:gd name="connsiteY14" fmla="*/ 154045 h 508679"/>
                <a:gd name="connsiteX15" fmla="*/ 189496 w 473101"/>
                <a:gd name="connsiteY15" fmla="*/ 215765 h 508679"/>
                <a:gd name="connsiteX16" fmla="*/ 0 w 473101"/>
                <a:gd name="connsiteY16" fmla="*/ 362669 h 508679"/>
                <a:gd name="connsiteX17" fmla="*/ 165012 w 473101"/>
                <a:gd name="connsiteY17" fmla="*/ 508680 h 508679"/>
                <a:gd name="connsiteX18" fmla="*/ 312808 w 473101"/>
                <a:gd name="connsiteY18" fmla="*/ 437013 h 508679"/>
                <a:gd name="connsiteX19" fmla="*/ 329131 w 473101"/>
                <a:gd name="connsiteY19" fmla="*/ 495928 h 508679"/>
                <a:gd name="connsiteX20" fmla="*/ 473102 w 473101"/>
                <a:gd name="connsiteY20" fmla="*/ 495928 h 50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3101" h="508679">
                  <a:moveTo>
                    <a:pt x="314593" y="322882"/>
                  </a:moveTo>
                  <a:cubicBezTo>
                    <a:pt x="314593" y="375421"/>
                    <a:pt x="272894" y="415335"/>
                    <a:pt x="209389" y="415335"/>
                  </a:cubicBezTo>
                  <a:cubicBezTo>
                    <a:pt x="170368" y="415335"/>
                    <a:pt x="138615" y="399905"/>
                    <a:pt x="138615" y="358205"/>
                  </a:cubicBezTo>
                  <a:cubicBezTo>
                    <a:pt x="138615" y="316506"/>
                    <a:pt x="168582" y="301076"/>
                    <a:pt x="231067" y="287432"/>
                  </a:cubicBezTo>
                  <a:cubicBezTo>
                    <a:pt x="262820" y="280163"/>
                    <a:pt x="293680" y="272894"/>
                    <a:pt x="314466" y="260270"/>
                  </a:cubicBezTo>
                  <a:lnTo>
                    <a:pt x="314466" y="322882"/>
                  </a:lnTo>
                  <a:close/>
                  <a:moveTo>
                    <a:pt x="473102" y="496055"/>
                  </a:moveTo>
                  <a:cubicBezTo>
                    <a:pt x="459074" y="483558"/>
                    <a:pt x="449765" y="458947"/>
                    <a:pt x="449765" y="420818"/>
                  </a:cubicBezTo>
                  <a:lnTo>
                    <a:pt x="449765" y="173300"/>
                  </a:lnTo>
                  <a:cubicBezTo>
                    <a:pt x="449765" y="108010"/>
                    <a:pt x="426174" y="58149"/>
                    <a:pt x="376313" y="29075"/>
                  </a:cubicBezTo>
                  <a:cubicBezTo>
                    <a:pt x="342775" y="9181"/>
                    <a:pt x="299291" y="0"/>
                    <a:pt x="237571" y="0"/>
                  </a:cubicBezTo>
                  <a:cubicBezTo>
                    <a:pt x="94365" y="0"/>
                    <a:pt x="27162" y="77023"/>
                    <a:pt x="23591" y="159528"/>
                  </a:cubicBezTo>
                  <a:lnTo>
                    <a:pt x="155065" y="159528"/>
                  </a:lnTo>
                  <a:cubicBezTo>
                    <a:pt x="158636" y="121400"/>
                    <a:pt x="185033" y="96023"/>
                    <a:pt x="239356" y="96023"/>
                  </a:cubicBezTo>
                  <a:cubicBezTo>
                    <a:pt x="288324" y="96023"/>
                    <a:pt x="311023" y="119614"/>
                    <a:pt x="311023" y="154045"/>
                  </a:cubicBezTo>
                  <a:cubicBezTo>
                    <a:pt x="311023" y="190388"/>
                    <a:pt x="275700" y="203906"/>
                    <a:pt x="189496" y="215765"/>
                  </a:cubicBezTo>
                  <a:cubicBezTo>
                    <a:pt x="84291" y="228389"/>
                    <a:pt x="0" y="255679"/>
                    <a:pt x="0" y="362669"/>
                  </a:cubicBezTo>
                  <a:cubicBezTo>
                    <a:pt x="0" y="457799"/>
                    <a:pt x="69881" y="508680"/>
                    <a:pt x="165012" y="508680"/>
                  </a:cubicBezTo>
                  <a:cubicBezTo>
                    <a:pt x="239356" y="508680"/>
                    <a:pt x="281056" y="481518"/>
                    <a:pt x="312808" y="437013"/>
                  </a:cubicBezTo>
                  <a:cubicBezTo>
                    <a:pt x="315486" y="464175"/>
                    <a:pt x="321862" y="485088"/>
                    <a:pt x="329131" y="495928"/>
                  </a:cubicBezTo>
                  <a:lnTo>
                    <a:pt x="473102" y="495928"/>
                  </a:lnTo>
                  <a:close/>
                </a:path>
              </a:pathLst>
            </a:custGeom>
            <a:grpFill/>
            <a:ln w="12748"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69733BC0-80D2-58CF-1762-2274F7C0DFEA}"/>
                </a:ext>
              </a:extLst>
            </p:cNvPr>
            <p:cNvSpPr/>
            <p:nvPr/>
          </p:nvSpPr>
          <p:spPr>
            <a:xfrm>
              <a:off x="3454341" y="3472670"/>
              <a:ext cx="303753" cy="490571"/>
            </a:xfrm>
            <a:custGeom>
              <a:avLst/>
              <a:gdLst>
                <a:gd name="connsiteX0" fmla="*/ 303754 w 303753"/>
                <a:gd name="connsiteY0" fmla="*/ 127776 h 490571"/>
                <a:gd name="connsiteX1" fmla="*/ 303754 w 303753"/>
                <a:gd name="connsiteY1" fmla="*/ 3571 h 490571"/>
                <a:gd name="connsiteX2" fmla="*/ 273787 w 303753"/>
                <a:gd name="connsiteY2" fmla="*/ 0 h 490571"/>
                <a:gd name="connsiteX3" fmla="*/ 139635 w 303753"/>
                <a:gd name="connsiteY3" fmla="*/ 94238 h 490571"/>
                <a:gd name="connsiteX4" fmla="*/ 136957 w 303753"/>
                <a:gd name="connsiteY4" fmla="*/ 94238 h 490571"/>
                <a:gd name="connsiteX5" fmla="*/ 136957 w 303753"/>
                <a:gd name="connsiteY5" fmla="*/ 8161 h 490571"/>
                <a:gd name="connsiteX6" fmla="*/ 0 w 303753"/>
                <a:gd name="connsiteY6" fmla="*/ 8161 h 490571"/>
                <a:gd name="connsiteX7" fmla="*/ 0 w 303753"/>
                <a:gd name="connsiteY7" fmla="*/ 490572 h 490571"/>
                <a:gd name="connsiteX8" fmla="*/ 142313 w 303753"/>
                <a:gd name="connsiteY8" fmla="*/ 490572 h 490571"/>
                <a:gd name="connsiteX9" fmla="*/ 142313 w 303753"/>
                <a:gd name="connsiteY9" fmla="*/ 266646 h 490571"/>
                <a:gd name="connsiteX10" fmla="*/ 270216 w 303753"/>
                <a:gd name="connsiteY10" fmla="*/ 125225 h 490571"/>
                <a:gd name="connsiteX11" fmla="*/ 300183 w 303753"/>
                <a:gd name="connsiteY11" fmla="*/ 127903 h 490571"/>
                <a:gd name="connsiteX12" fmla="*/ 303754 w 303753"/>
                <a:gd name="connsiteY12" fmla="*/ 127903 h 49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753" h="490571">
                  <a:moveTo>
                    <a:pt x="303754" y="127776"/>
                  </a:moveTo>
                  <a:lnTo>
                    <a:pt x="303754" y="3571"/>
                  </a:lnTo>
                  <a:cubicBezTo>
                    <a:pt x="297378" y="893"/>
                    <a:pt x="287431" y="0"/>
                    <a:pt x="273787" y="0"/>
                  </a:cubicBezTo>
                  <a:cubicBezTo>
                    <a:pt x="213980" y="0"/>
                    <a:pt x="170368" y="27162"/>
                    <a:pt x="139635" y="94238"/>
                  </a:cubicBezTo>
                  <a:lnTo>
                    <a:pt x="136957" y="94238"/>
                  </a:lnTo>
                  <a:lnTo>
                    <a:pt x="136957" y="8161"/>
                  </a:lnTo>
                  <a:lnTo>
                    <a:pt x="0" y="8161"/>
                  </a:lnTo>
                  <a:lnTo>
                    <a:pt x="0" y="490572"/>
                  </a:lnTo>
                  <a:lnTo>
                    <a:pt x="142313" y="490572"/>
                  </a:lnTo>
                  <a:lnTo>
                    <a:pt x="142313" y="266646"/>
                  </a:lnTo>
                  <a:cubicBezTo>
                    <a:pt x="142313" y="172280"/>
                    <a:pt x="193066" y="124333"/>
                    <a:pt x="270216" y="125225"/>
                  </a:cubicBezTo>
                  <a:cubicBezTo>
                    <a:pt x="280163" y="125225"/>
                    <a:pt x="290109" y="126118"/>
                    <a:pt x="300183" y="127903"/>
                  </a:cubicBezTo>
                  <a:lnTo>
                    <a:pt x="303754" y="127903"/>
                  </a:lnTo>
                  <a:close/>
                </a:path>
              </a:pathLst>
            </a:custGeom>
            <a:grpFill/>
            <a:ln w="12748"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B8DC9914-E1A3-B3A9-9C73-C1EA0F9B13D2}"/>
                </a:ext>
              </a:extLst>
            </p:cNvPr>
            <p:cNvSpPr/>
            <p:nvPr/>
          </p:nvSpPr>
          <p:spPr>
            <a:xfrm>
              <a:off x="3753887" y="3467186"/>
              <a:ext cx="491487" cy="510464"/>
            </a:xfrm>
            <a:custGeom>
              <a:avLst/>
              <a:gdLst>
                <a:gd name="connsiteX0" fmla="*/ 247645 w 491487"/>
                <a:gd name="connsiteY0" fmla="*/ 100614 h 510464"/>
                <a:gd name="connsiteX1" fmla="*/ 346473 w 491487"/>
                <a:gd name="connsiteY1" fmla="*/ 208496 h 510464"/>
                <a:gd name="connsiteX2" fmla="*/ 140655 w 491487"/>
                <a:gd name="connsiteY2" fmla="*/ 208496 h 510464"/>
                <a:gd name="connsiteX3" fmla="*/ 247645 w 491487"/>
                <a:gd name="connsiteY3" fmla="*/ 100614 h 510464"/>
                <a:gd name="connsiteX4" fmla="*/ 256699 w 491487"/>
                <a:gd name="connsiteY4" fmla="*/ 407046 h 510464"/>
                <a:gd name="connsiteX5" fmla="*/ 139635 w 491487"/>
                <a:gd name="connsiteY5" fmla="*/ 291002 h 510464"/>
                <a:gd name="connsiteX6" fmla="*/ 491464 w 491487"/>
                <a:gd name="connsiteY6" fmla="*/ 291002 h 510464"/>
                <a:gd name="connsiteX7" fmla="*/ 413422 w 491487"/>
                <a:gd name="connsiteY7" fmla="*/ 61592 h 510464"/>
                <a:gd name="connsiteX8" fmla="*/ 247517 w 491487"/>
                <a:gd name="connsiteY8" fmla="*/ 0 h 510464"/>
                <a:gd name="connsiteX9" fmla="*/ 0 w 491487"/>
                <a:gd name="connsiteY9" fmla="*/ 255679 h 510464"/>
                <a:gd name="connsiteX10" fmla="*/ 254786 w 491487"/>
                <a:gd name="connsiteY10" fmla="*/ 510465 h 510464"/>
                <a:gd name="connsiteX11" fmla="*/ 482411 w 491487"/>
                <a:gd name="connsiteY11" fmla="*/ 359991 h 510464"/>
                <a:gd name="connsiteX12" fmla="*/ 344561 w 491487"/>
                <a:gd name="connsiteY12" fmla="*/ 359991 h 510464"/>
                <a:gd name="connsiteX13" fmla="*/ 256572 w 491487"/>
                <a:gd name="connsiteY13" fmla="*/ 407173 h 5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1487" h="510464">
                  <a:moveTo>
                    <a:pt x="247645" y="100614"/>
                  </a:moveTo>
                  <a:cubicBezTo>
                    <a:pt x="303882" y="100614"/>
                    <a:pt x="341883" y="141420"/>
                    <a:pt x="346473" y="208496"/>
                  </a:cubicBezTo>
                  <a:lnTo>
                    <a:pt x="140655" y="208496"/>
                  </a:lnTo>
                  <a:cubicBezTo>
                    <a:pt x="149709" y="142313"/>
                    <a:pt x="182355" y="100614"/>
                    <a:pt x="247645" y="100614"/>
                  </a:cubicBezTo>
                  <a:moveTo>
                    <a:pt x="256699" y="407046"/>
                  </a:moveTo>
                  <a:cubicBezTo>
                    <a:pt x="187838" y="407046"/>
                    <a:pt x="148817" y="363561"/>
                    <a:pt x="139635" y="291002"/>
                  </a:cubicBezTo>
                  <a:lnTo>
                    <a:pt x="491464" y="291002"/>
                  </a:lnTo>
                  <a:cubicBezTo>
                    <a:pt x="492357" y="195744"/>
                    <a:pt x="467873" y="114258"/>
                    <a:pt x="413422" y="61592"/>
                  </a:cubicBezTo>
                  <a:cubicBezTo>
                    <a:pt x="370830" y="22571"/>
                    <a:pt x="316379" y="0"/>
                    <a:pt x="247517" y="0"/>
                  </a:cubicBezTo>
                  <a:cubicBezTo>
                    <a:pt x="100614" y="0"/>
                    <a:pt x="0" y="110688"/>
                    <a:pt x="0" y="255679"/>
                  </a:cubicBezTo>
                  <a:cubicBezTo>
                    <a:pt x="0" y="400670"/>
                    <a:pt x="97043" y="510465"/>
                    <a:pt x="254786" y="510465"/>
                  </a:cubicBezTo>
                  <a:cubicBezTo>
                    <a:pt x="378991" y="510465"/>
                    <a:pt x="457926" y="445174"/>
                    <a:pt x="482411" y="359991"/>
                  </a:cubicBezTo>
                  <a:lnTo>
                    <a:pt x="344561" y="359991"/>
                  </a:lnTo>
                  <a:cubicBezTo>
                    <a:pt x="329131" y="389958"/>
                    <a:pt x="301076" y="407173"/>
                    <a:pt x="256572" y="407173"/>
                  </a:cubicBezTo>
                </a:path>
              </a:pathLst>
            </a:custGeom>
            <a:grpFill/>
            <a:ln w="12748" cap="flat">
              <a:noFill/>
              <a:prstDash val="solid"/>
              <a:miter/>
            </a:ln>
          </p:spPr>
          <p:txBody>
            <a:bodyPr rtlCol="0" anchor="ctr"/>
            <a:lstStyle/>
            <a:p>
              <a:endParaRPr lang="en-AU"/>
            </a:p>
          </p:txBody>
        </p:sp>
      </p:grpSp>
      <p:sp>
        <p:nvSpPr>
          <p:cNvPr id="33" name="Rectangle 32">
            <a:extLst>
              <a:ext uri="{FF2B5EF4-FFF2-40B4-BE49-F238E27FC236}">
                <a16:creationId xmlns:a16="http://schemas.microsoft.com/office/drawing/2014/main" id="{2546B76B-5F82-CC7A-3817-FEAC235E3D84}"/>
              </a:ext>
            </a:extLst>
          </p:cNvPr>
          <p:cNvSpPr/>
          <p:nvPr userDrawn="1"/>
        </p:nvSpPr>
        <p:spPr>
          <a:xfrm>
            <a:off x="0" y="0"/>
            <a:ext cx="12204000" cy="13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624132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xt/Bullets_centered">
    <p:bg>
      <p:bgPr>
        <a:solidFill>
          <a:schemeClr val="bg1"/>
        </a:solidFill>
        <a:effectLst/>
      </p:bgPr>
    </p:bg>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651CF7B9-372B-4428-921C-975EA4C38A68}"/>
              </a:ext>
            </a:extLst>
          </p:cNvPr>
          <p:cNvSpPr>
            <a:spLocks noGrp="1"/>
          </p:cNvSpPr>
          <p:nvPr>
            <p:ph type="title" hasCustomPrompt="1"/>
          </p:nvPr>
        </p:nvSpPr>
        <p:spPr>
          <a:xfrm>
            <a:off x="336712" y="679808"/>
            <a:ext cx="11520320" cy="588605"/>
          </a:xfrm>
          <a:prstGeom prst="rect">
            <a:avLst/>
          </a:prstGeom>
        </p:spPr>
        <p:txBody>
          <a:bodyPr vert="horz" lIns="72000" tIns="72000" rIns="72000" bIns="72000" rtlCol="0" anchor="t">
            <a:spAutoFit/>
          </a:bodyPr>
          <a:lstStyle>
            <a:lvl1pPr algn="ctr">
              <a:defRPr spc="0" baseline="0"/>
            </a:lvl1pPr>
          </a:lstStyle>
          <a:p>
            <a:r>
              <a:rPr lang="en-US"/>
              <a:t>CLICK TO EDIT MASTER TITLE STYLE</a:t>
            </a:r>
          </a:p>
        </p:txBody>
      </p:sp>
      <p:sp>
        <p:nvSpPr>
          <p:cNvPr id="19" name="Content Placeholder 2">
            <a:extLst>
              <a:ext uri="{FF2B5EF4-FFF2-40B4-BE49-F238E27FC236}">
                <a16:creationId xmlns:a16="http://schemas.microsoft.com/office/drawing/2014/main" id="{F379E477-E0F0-4EC3-AE96-80C0E073F42B}"/>
              </a:ext>
            </a:extLst>
          </p:cNvPr>
          <p:cNvSpPr>
            <a:spLocks noGrp="1"/>
          </p:cNvSpPr>
          <p:nvPr>
            <p:ph idx="1"/>
          </p:nvPr>
        </p:nvSpPr>
        <p:spPr>
          <a:xfrm>
            <a:off x="334962" y="1559965"/>
            <a:ext cx="11520321" cy="4583659"/>
          </a:xfrm>
          <a:prstGeom prst="rect">
            <a:avLst/>
          </a:prstGeom>
        </p:spPr>
        <p:txBody>
          <a:bodyPr lIns="72000" tIns="72000" rIns="72000" bIns="72000"/>
          <a:lstStyle>
            <a:lvl1pPr marL="0" indent="0" algn="ctr">
              <a:buNone/>
              <a:defRPr sz="1400">
                <a:solidFill>
                  <a:schemeClr val="tx1"/>
                </a:solidFill>
              </a:defRPr>
            </a:lvl1pPr>
            <a:lvl2pPr marL="350210" indent="0" algn="ctr">
              <a:buNone/>
              <a:defRPr sz="1200">
                <a:solidFill>
                  <a:schemeClr val="tx1"/>
                </a:solidFill>
              </a:defRPr>
            </a:lvl2pPr>
            <a:lvl3pPr marL="615193" indent="0" algn="ctr">
              <a:buNone/>
              <a:defRPr sz="1100">
                <a:solidFill>
                  <a:schemeClr val="tx1"/>
                </a:solidFill>
              </a:defRPr>
            </a:lvl3pPr>
            <a:lvl4pPr marL="880176" indent="0" algn="ctr">
              <a:buNone/>
              <a:defRPr sz="1050">
                <a:solidFill>
                  <a:schemeClr val="tx1"/>
                </a:solidFill>
              </a:defRPr>
            </a:lvl4pPr>
            <a:lvl5pPr marL="1134309" indent="0" algn="ctr">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ubtitle 2">
            <a:extLst>
              <a:ext uri="{FF2B5EF4-FFF2-40B4-BE49-F238E27FC236}">
                <a16:creationId xmlns:a16="http://schemas.microsoft.com/office/drawing/2014/main" id="{380483DB-0E2D-46D9-8B67-0F79DE8443B2}"/>
              </a:ext>
            </a:extLst>
          </p:cNvPr>
          <p:cNvSpPr>
            <a:spLocks noGrp="1"/>
          </p:cNvSpPr>
          <p:nvPr>
            <p:ph type="subTitle" idx="10" hasCustomPrompt="1"/>
          </p:nvPr>
        </p:nvSpPr>
        <p:spPr>
          <a:xfrm>
            <a:off x="336712" y="349736"/>
            <a:ext cx="11520326" cy="330072"/>
          </a:xfrm>
          <a:prstGeom prst="rect">
            <a:avLst/>
          </a:prstGeom>
        </p:spPr>
        <p:txBody>
          <a:bodyPr lIns="72000" tIns="72000" rIns="72000" bIns="72000" anchor="t">
            <a:spAutoFit/>
          </a:bodyPr>
          <a:lstStyle>
            <a:lvl1pPr marL="0" indent="0" algn="ctr">
              <a:spcBef>
                <a:spcPts val="0"/>
              </a:spcBef>
              <a:spcAft>
                <a:spcPts val="0"/>
              </a:spcAft>
              <a:buNone/>
              <a:defRPr sz="1200" b="0">
                <a:solidFill>
                  <a:schemeClr val="accent3"/>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Footer Placeholder 3">
            <a:extLst>
              <a:ext uri="{FF2B5EF4-FFF2-40B4-BE49-F238E27FC236}">
                <a16:creationId xmlns:a16="http://schemas.microsoft.com/office/drawing/2014/main" id="{6C6D08EA-5A78-4BDD-9B86-47EE6E8DF973}"/>
              </a:ext>
            </a:extLst>
          </p:cNvPr>
          <p:cNvSpPr>
            <a:spLocks noGrp="1"/>
          </p:cNvSpPr>
          <p:nvPr>
            <p:ph type="ftr" sz="quarter" idx="3"/>
          </p:nvPr>
        </p:nvSpPr>
        <p:spPr>
          <a:xfrm>
            <a:off x="2495550" y="6448552"/>
            <a:ext cx="7921625" cy="191055"/>
          </a:xfrm>
          <a:prstGeom prst="rect">
            <a:avLst/>
          </a:prstGeom>
        </p:spPr>
        <p:txBody>
          <a:bodyPr vert="horz" lIns="0" tIns="72000" rIns="72000" bIns="0" rtlCol="0" anchor="b" anchorCtr="0"/>
          <a:lstStyle>
            <a:lvl1pPr algn="l">
              <a:defRPr sz="1200">
                <a:solidFill>
                  <a:schemeClr val="accent2"/>
                </a:solidFill>
              </a:defRPr>
            </a:lvl1pPr>
          </a:lstStyle>
          <a:p>
            <a:endParaRPr lang="en-US"/>
          </a:p>
        </p:txBody>
      </p:sp>
      <p:sp>
        <p:nvSpPr>
          <p:cNvPr id="11" name="Slide Number Placeholder 5">
            <a:extLst>
              <a:ext uri="{FF2B5EF4-FFF2-40B4-BE49-F238E27FC236}">
                <a16:creationId xmlns:a16="http://schemas.microsoft.com/office/drawing/2014/main" id="{775D2D7C-4E39-4E32-B95B-C927740F9282}"/>
              </a:ext>
            </a:extLst>
          </p:cNvPr>
          <p:cNvSpPr>
            <a:spLocks noGrp="1"/>
          </p:cNvSpPr>
          <p:nvPr>
            <p:ph type="sldNum" sz="quarter" idx="4"/>
          </p:nvPr>
        </p:nvSpPr>
        <p:spPr>
          <a:xfrm>
            <a:off x="11039716" y="6364079"/>
            <a:ext cx="817322" cy="360000"/>
          </a:xfrm>
          <a:prstGeom prst="rect">
            <a:avLst/>
          </a:prstGeom>
        </p:spPr>
        <p:txBody>
          <a:bodyPr vert="horz" lIns="91440" tIns="45720" rIns="91440" bIns="45720" rtlCol="0" anchor="ctr"/>
          <a:lstStyle>
            <a:lvl1pPr algn="r">
              <a:defRPr sz="1200" b="0" i="0">
                <a:solidFill>
                  <a:schemeClr val="tx1"/>
                </a:solidFill>
                <a:effectLst/>
                <a:latin typeface="+mn-lt"/>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218889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99">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783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37DA1-00F0-BCF1-F6A4-56AB25E0D2B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D64E9AD4-85AD-8080-DD82-71E737757C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F56D315-7A17-D7A3-3598-B5F88778C072}"/>
              </a:ext>
            </a:extLst>
          </p:cNvPr>
          <p:cNvSpPr>
            <a:spLocks noGrp="1"/>
          </p:cNvSpPr>
          <p:nvPr>
            <p:ph type="dt" sz="half" idx="10"/>
          </p:nvPr>
        </p:nvSpPr>
        <p:spPr/>
        <p:txBody>
          <a:bodyPr/>
          <a:lstStyle/>
          <a:p>
            <a:fld id="{2A465594-D187-4C49-9EB7-62D5450D34E3}" type="datetimeFigureOut">
              <a:rPr lang="en-US" smtClean="0"/>
              <a:t>9/30/24</a:t>
            </a:fld>
            <a:endParaRPr lang="en-US"/>
          </a:p>
        </p:txBody>
      </p:sp>
      <p:sp>
        <p:nvSpPr>
          <p:cNvPr id="5" name="Footer Placeholder 4">
            <a:extLst>
              <a:ext uri="{FF2B5EF4-FFF2-40B4-BE49-F238E27FC236}">
                <a16:creationId xmlns:a16="http://schemas.microsoft.com/office/drawing/2014/main" id="{FCCB5CE8-7DCF-EE07-CC03-9870E7B14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EA5670-A1FA-709F-7138-89DBFA9FA2A0}"/>
              </a:ext>
            </a:extLst>
          </p:cNvPr>
          <p:cNvSpPr>
            <a:spLocks noGrp="1"/>
          </p:cNvSpPr>
          <p:nvPr>
            <p:ph type="sldNum" sz="quarter" idx="12"/>
          </p:nvPr>
        </p:nvSpPr>
        <p:spPr/>
        <p:txBody>
          <a:bodyPr/>
          <a:lstStyle/>
          <a:p>
            <a:fld id="{23F50DAB-BBC2-0049-97BD-5E1CA9C9A4A5}" type="slidenum">
              <a:rPr lang="en-US" smtClean="0"/>
              <a:t>‹#›</a:t>
            </a:fld>
            <a:endParaRPr lang="en-US"/>
          </a:p>
        </p:txBody>
      </p:sp>
    </p:spTree>
    <p:extLst>
      <p:ext uri="{BB962C8B-B14F-4D97-AF65-F5344CB8AC3E}">
        <p14:creationId xmlns:p14="http://schemas.microsoft.com/office/powerpoint/2010/main" val="17561319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4EC758-6CD5-4E66-8D24-315DF1626D60}"/>
              </a:ext>
            </a:extLst>
          </p:cNvPr>
          <p:cNvSpPr>
            <a:spLocks noGrp="1"/>
          </p:cNvSpPr>
          <p:nvPr>
            <p:ph type="title"/>
          </p:nvPr>
        </p:nvSpPr>
        <p:spPr>
          <a:xfrm>
            <a:off x="479425" y="604203"/>
            <a:ext cx="11233150" cy="746695"/>
          </a:xfrm>
          <a:prstGeom prst="rect">
            <a:avLst/>
          </a:prstGeom>
        </p:spPr>
        <p:txBody>
          <a:bodyPr vert="horz" lIns="0" tIns="0" rIns="0" bIns="0" rtlCol="0" anchor="t" anchorCtr="0">
            <a:no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4FEB419-CD79-FF1E-D8A6-B85411C7F864}"/>
              </a:ext>
            </a:extLst>
          </p:cNvPr>
          <p:cNvSpPr>
            <a:spLocks noGrp="1"/>
          </p:cNvSpPr>
          <p:nvPr>
            <p:ph type="body" idx="1"/>
          </p:nvPr>
        </p:nvSpPr>
        <p:spPr>
          <a:xfrm>
            <a:off x="479424" y="2097087"/>
            <a:ext cx="11224895" cy="37957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4">
            <a:extLst>
              <a:ext uri="{FF2B5EF4-FFF2-40B4-BE49-F238E27FC236}">
                <a16:creationId xmlns:a16="http://schemas.microsoft.com/office/drawing/2014/main" id="{C2062340-C36F-AAE5-710B-BD8A30B9AE7E}"/>
              </a:ext>
            </a:extLst>
          </p:cNvPr>
          <p:cNvSpPr>
            <a:spLocks noGrp="1"/>
          </p:cNvSpPr>
          <p:nvPr>
            <p:ph type="ftr" sz="quarter" idx="3"/>
          </p:nvPr>
        </p:nvSpPr>
        <p:spPr>
          <a:xfrm>
            <a:off x="660389" y="6341508"/>
            <a:ext cx="3787785" cy="156448"/>
          </a:xfrm>
          <a:prstGeom prst="rect">
            <a:avLst/>
          </a:prstGeom>
        </p:spPr>
        <p:txBody>
          <a:bodyPr lIns="0" tIns="0" rIns="0" bIns="0" anchor="ctr" anchorCtr="0"/>
          <a:lstStyle>
            <a:lvl1pPr>
              <a:defRPr sz="800"/>
            </a:lvl1pPr>
          </a:lstStyle>
          <a:p>
            <a:r>
              <a:rPr lang="en-US"/>
              <a:t>|    Presentation footer</a:t>
            </a:r>
            <a:endParaRPr lang="en-AU"/>
          </a:p>
        </p:txBody>
      </p:sp>
      <p:sp>
        <p:nvSpPr>
          <p:cNvPr id="9" name="Slide Number Placeholder 8">
            <a:extLst>
              <a:ext uri="{FF2B5EF4-FFF2-40B4-BE49-F238E27FC236}">
                <a16:creationId xmlns:a16="http://schemas.microsoft.com/office/drawing/2014/main" id="{AF1C7A71-6EDE-FB77-FC62-5462110FB365}"/>
              </a:ext>
            </a:extLst>
          </p:cNvPr>
          <p:cNvSpPr>
            <a:spLocks noGrp="1"/>
          </p:cNvSpPr>
          <p:nvPr>
            <p:ph type="sldNum" sz="quarter" idx="4"/>
          </p:nvPr>
        </p:nvSpPr>
        <p:spPr>
          <a:xfrm>
            <a:off x="479425" y="6339948"/>
            <a:ext cx="173038" cy="169200"/>
          </a:xfrm>
          <a:prstGeom prst="rect">
            <a:avLst/>
          </a:prstGeom>
        </p:spPr>
        <p:txBody>
          <a:bodyPr vert="horz" lIns="0" tIns="0" rIns="0" bIns="0" rtlCol="0" anchor="ctr"/>
          <a:lstStyle>
            <a:lvl1pPr algn="l">
              <a:defRPr sz="800">
                <a:solidFill>
                  <a:schemeClr val="tx1"/>
                </a:solidFill>
              </a:defRPr>
            </a:lvl1pPr>
          </a:lstStyle>
          <a:p>
            <a:fld id="{E4C2AD82-1025-4508-97C1-6F7EE5C92734}" type="slidenum">
              <a:rPr lang="en-AU" smtClean="0"/>
              <a:pPr/>
              <a:t>‹#›</a:t>
            </a:fld>
            <a:endParaRPr lang="en-AU"/>
          </a:p>
        </p:txBody>
      </p:sp>
      <p:sp>
        <p:nvSpPr>
          <p:cNvPr id="4" name="Rectangle 3">
            <a:extLst>
              <a:ext uri="{FF2B5EF4-FFF2-40B4-BE49-F238E27FC236}">
                <a16:creationId xmlns:a16="http://schemas.microsoft.com/office/drawing/2014/main" id="{896CA090-A919-96B4-95EF-74EE27CFA449}"/>
              </a:ext>
            </a:extLst>
          </p:cNvPr>
          <p:cNvSpPr/>
          <p:nvPr userDrawn="1"/>
        </p:nvSpPr>
        <p:spPr>
          <a:xfrm>
            <a:off x="0" y="0"/>
            <a:ext cx="12192000" cy="136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descr="A black screen with white text&#10;&#10;Description automatically generated with medium confidence">
            <a:extLst>
              <a:ext uri="{FF2B5EF4-FFF2-40B4-BE49-F238E27FC236}">
                <a16:creationId xmlns:a16="http://schemas.microsoft.com/office/drawing/2014/main" id="{281E5E4C-AC77-1DBE-BA48-D62232C96C04}"/>
              </a:ext>
            </a:extLst>
          </p:cNvPr>
          <p:cNvPicPr>
            <a:picLocks noChangeAspect="1"/>
          </p:cNvPicPr>
          <p:nvPr userDrawn="1"/>
        </p:nvPicPr>
        <p:blipFill>
          <a:blip r:embed="rId98">
            <a:extLst>
              <a:ext uri="{28A0092B-C50C-407E-A947-70E740481C1C}">
                <a14:useLocalDpi xmlns:a14="http://schemas.microsoft.com/office/drawing/2010/main" val="0"/>
              </a:ext>
            </a:extLst>
          </a:blip>
          <a:stretch>
            <a:fillRect/>
          </a:stretch>
        </p:blipFill>
        <p:spPr>
          <a:xfrm>
            <a:off x="10901099" y="6173769"/>
            <a:ext cx="828938" cy="291536"/>
          </a:xfrm>
          <a:prstGeom prst="rect">
            <a:avLst/>
          </a:prstGeom>
        </p:spPr>
      </p:pic>
    </p:spTree>
    <p:extLst>
      <p:ext uri="{BB962C8B-B14F-4D97-AF65-F5344CB8AC3E}">
        <p14:creationId xmlns:p14="http://schemas.microsoft.com/office/powerpoint/2010/main" val="2361516644"/>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7" r:id="rId17"/>
    <p:sldLayoutId id="2147483798" r:id="rId18"/>
    <p:sldLayoutId id="2147483799" r:id="rId19"/>
    <p:sldLayoutId id="2147483800" r:id="rId20"/>
    <p:sldLayoutId id="2147483801" r:id="rId21"/>
    <p:sldLayoutId id="2147483881" r:id="rId22"/>
    <p:sldLayoutId id="2147483805" r:id="rId23"/>
    <p:sldLayoutId id="2147483882" r:id="rId24"/>
    <p:sldLayoutId id="2147483859" r:id="rId25"/>
    <p:sldLayoutId id="2147483806" r:id="rId26"/>
    <p:sldLayoutId id="2147483860" r:id="rId27"/>
    <p:sldLayoutId id="2147483807" r:id="rId28"/>
    <p:sldLayoutId id="2147483861" r:id="rId29"/>
    <p:sldLayoutId id="2147483808" r:id="rId30"/>
    <p:sldLayoutId id="2147483862" r:id="rId31"/>
    <p:sldLayoutId id="2147483809" r:id="rId32"/>
    <p:sldLayoutId id="2147483863" r:id="rId33"/>
    <p:sldLayoutId id="2147483810" r:id="rId34"/>
    <p:sldLayoutId id="2147483876" r:id="rId35"/>
    <p:sldLayoutId id="2147483811" r:id="rId36"/>
    <p:sldLayoutId id="2147483864" r:id="rId37"/>
    <p:sldLayoutId id="2147483865" r:id="rId38"/>
    <p:sldLayoutId id="2147483812" r:id="rId39"/>
    <p:sldLayoutId id="2147483866" r:id="rId40"/>
    <p:sldLayoutId id="2147483813" r:id="rId41"/>
    <p:sldLayoutId id="2147483867" r:id="rId42"/>
    <p:sldLayoutId id="2147483814" r:id="rId43"/>
    <p:sldLayoutId id="2147483868" r:id="rId44"/>
    <p:sldLayoutId id="2147483815" r:id="rId45"/>
    <p:sldLayoutId id="2147483869" r:id="rId46"/>
    <p:sldLayoutId id="2147483816" r:id="rId47"/>
    <p:sldLayoutId id="2147483870" r:id="rId48"/>
    <p:sldLayoutId id="2147483817" r:id="rId49"/>
    <p:sldLayoutId id="2147483871" r:id="rId50"/>
    <p:sldLayoutId id="2147483818" r:id="rId51"/>
    <p:sldLayoutId id="2147483872" r:id="rId52"/>
    <p:sldLayoutId id="2147483819" r:id="rId53"/>
    <p:sldLayoutId id="2147483873" r:id="rId54"/>
    <p:sldLayoutId id="2147483820" r:id="rId55"/>
    <p:sldLayoutId id="2147483821" r:id="rId56"/>
    <p:sldLayoutId id="2147483822" r:id="rId57"/>
    <p:sldLayoutId id="2147483874" r:id="rId58"/>
    <p:sldLayoutId id="2147483823" r:id="rId59"/>
    <p:sldLayoutId id="2147483824" r:id="rId60"/>
    <p:sldLayoutId id="2147483827" r:id="rId61"/>
    <p:sldLayoutId id="2147483829" r:id="rId62"/>
    <p:sldLayoutId id="2147483830" r:id="rId63"/>
    <p:sldLayoutId id="2147483831" r:id="rId64"/>
    <p:sldLayoutId id="2147483832" r:id="rId65"/>
    <p:sldLayoutId id="2147483833" r:id="rId66"/>
    <p:sldLayoutId id="2147483834" r:id="rId67"/>
    <p:sldLayoutId id="2147483836" r:id="rId68"/>
    <p:sldLayoutId id="2147483837" r:id="rId69"/>
    <p:sldLayoutId id="2147483883" r:id="rId70"/>
    <p:sldLayoutId id="2147483879" r:id="rId71"/>
    <p:sldLayoutId id="2147483884" r:id="rId72"/>
    <p:sldLayoutId id="2147483839" r:id="rId73"/>
    <p:sldLayoutId id="2147483840" r:id="rId74"/>
    <p:sldLayoutId id="2147483841" r:id="rId75"/>
    <p:sldLayoutId id="2147483842" r:id="rId76"/>
    <p:sldLayoutId id="2147483843" r:id="rId77"/>
    <p:sldLayoutId id="2147483880" r:id="rId78"/>
    <p:sldLayoutId id="2147483844" r:id="rId79"/>
    <p:sldLayoutId id="2147483845" r:id="rId80"/>
    <p:sldLayoutId id="2147483846" r:id="rId81"/>
    <p:sldLayoutId id="2147483847" r:id="rId82"/>
    <p:sldLayoutId id="2147483848" r:id="rId83"/>
    <p:sldLayoutId id="2147483849" r:id="rId84"/>
    <p:sldLayoutId id="2147483850" r:id="rId85"/>
    <p:sldLayoutId id="2147483851" r:id="rId86"/>
    <p:sldLayoutId id="2147483852" r:id="rId87"/>
    <p:sldLayoutId id="2147483885" r:id="rId88"/>
    <p:sldLayoutId id="2147483853" r:id="rId89"/>
    <p:sldLayoutId id="2147483854" r:id="rId90"/>
    <p:sldLayoutId id="2147483855" r:id="rId91"/>
    <p:sldLayoutId id="2147483856" r:id="rId92"/>
    <p:sldLayoutId id="2147483857" r:id="rId93"/>
    <p:sldLayoutId id="2147483886" r:id="rId94"/>
    <p:sldLayoutId id="2147483887" r:id="rId95"/>
    <p:sldLayoutId id="2147483888" r:id="rId9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800"/>
        </a:spcAft>
        <a:buFont typeface="Arial" panose="020B0604020202020204" pitchFamily="34" charset="0"/>
        <a:buNone/>
        <a:defRPr sz="1400" b="0" kern="120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ClrTx/>
        <a:buFont typeface="Arial" panose="020B0604020202020204" pitchFamily="34" charset="0"/>
        <a:buChar char="•"/>
        <a:tabLst>
          <a:tab pos="180000" algn="l"/>
        </a:tabLst>
        <a:defRPr sz="1400" kern="1200">
          <a:solidFill>
            <a:schemeClr val="tx1"/>
          </a:solidFill>
          <a:latin typeface="+mn-lt"/>
          <a:ea typeface="+mn-ea"/>
          <a:cs typeface="+mn-cs"/>
        </a:defRPr>
      </a:lvl2pPr>
      <a:lvl3pPr marL="360363" indent="-180000" algn="l" defTabSz="914400" rtl="0" eaLnBrk="1" latinLnBrk="0" hangingPunct="1">
        <a:lnSpc>
          <a:spcPct val="100000"/>
        </a:lnSpc>
        <a:spcBef>
          <a:spcPts val="300"/>
        </a:spcBef>
        <a:spcAft>
          <a:spcPts val="600"/>
        </a:spcAft>
        <a:buClrTx/>
        <a:buFont typeface="Arial" panose="020B0604020202020204" pitchFamily="34" charset="0"/>
        <a:buChar char="•"/>
        <a:tabLst>
          <a:tab pos="360000" algn="l"/>
        </a:tabLst>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ClrTx/>
        <a:buFont typeface="Airal" pitchFamily="2" charset="0"/>
        <a:buNone/>
        <a:tabLst/>
        <a:defRPr sz="1200" kern="1200">
          <a:solidFill>
            <a:schemeClr val="accent1"/>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userDrawn="1">
          <p15:clr>
            <a:srgbClr val="F26B43"/>
          </p15:clr>
        </p15:guide>
        <p15:guide id="7" pos="7378" userDrawn="1">
          <p15:clr>
            <a:srgbClr val="F26B43"/>
          </p15:clr>
        </p15:guide>
        <p15:guide id="8" orient="horz" pos="1321" userDrawn="1">
          <p15:clr>
            <a:srgbClr val="F26B43"/>
          </p15:clr>
        </p15:guide>
        <p15:guide id="9" orient="horz" pos="3712" userDrawn="1">
          <p15:clr>
            <a:srgbClr val="F26B43"/>
          </p15:clr>
        </p15:guide>
        <p15:guide id="10" orient="horz" pos="3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7FFFFFF9_6C26EA01.xml"/><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FE2A_B5C071F8.xml"/><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26.jpeg"/></Relationships>
</file>

<file path=ppt/slides/_rels/slide4.xml.rels><?xml version="1.0" encoding="UTF-8" standalone="yes"?>
<Relationships xmlns="http://schemas.openxmlformats.org/package/2006/relationships"><Relationship Id="rId3" Type="http://schemas.microsoft.com/office/2018/10/relationships/comments" Target="../comments/modernComment_7FFFFFE6_4A083F7C.xml"/><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01_1BE9A4FD.xml"/><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notesSlide" Target="../notesSlides/notesSlide5.xml"/><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slideLayout" Target="../slideLayouts/slideLayout25.xml"/><Relationship Id="rId1" Type="http://schemas.openxmlformats.org/officeDocument/2006/relationships/tags" Target="../tags/tag1.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emf"/><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oleObject" Target="../embeddings/oleObject1.bin"/><Relationship Id="rId9" Type="http://schemas.openxmlformats.org/officeDocument/2006/relationships/image" Target="../media/image32.svg"/><Relationship Id="rId14" Type="http://schemas.openxmlformats.org/officeDocument/2006/relationships/image" Target="../media/image3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528A7381-7CFE-6531-4830-0E16AB3AFF2C}"/>
              </a:ext>
            </a:extLst>
          </p:cNvPr>
          <p:cNvPicPr>
            <a:picLocks noGrp="1" noChangeAspect="1"/>
          </p:cNvPicPr>
          <p:nvPr>
            <p:ph type="pic" sz="quarter" idx="34"/>
          </p:nvPr>
        </p:nvPicPr>
        <p:blipFill>
          <a:blip r:embed="rId3">
            <a:extLst>
              <a:ext uri="{28A0092B-C50C-407E-A947-70E740481C1C}">
                <a14:useLocalDpi xmlns:a14="http://schemas.microsoft.com/office/drawing/2010/main" val="0"/>
              </a:ext>
            </a:extLst>
          </a:blip>
          <a:srcRect t="4172" b="4172"/>
          <a:stretch/>
        </p:blipFill>
        <p:spPr>
          <a:xfrm>
            <a:off x="7235" y="147417"/>
            <a:ext cx="12204000" cy="6721201"/>
          </a:xfrm>
        </p:spPr>
      </p:pic>
      <p:sp>
        <p:nvSpPr>
          <p:cNvPr id="2" name="Title 1">
            <a:extLst>
              <a:ext uri="{FF2B5EF4-FFF2-40B4-BE49-F238E27FC236}">
                <a16:creationId xmlns:a16="http://schemas.microsoft.com/office/drawing/2014/main" id="{4A45D4A3-ECDB-2D64-5DB8-420F40DE858A}"/>
              </a:ext>
            </a:extLst>
          </p:cNvPr>
          <p:cNvSpPr>
            <a:spLocks noGrp="1"/>
          </p:cNvSpPr>
          <p:nvPr>
            <p:ph type="ctrTitle"/>
          </p:nvPr>
        </p:nvSpPr>
        <p:spPr>
          <a:xfrm>
            <a:off x="479425" y="3643376"/>
            <a:ext cx="10842844" cy="1126830"/>
          </a:xfrm>
        </p:spPr>
        <p:txBody>
          <a:bodyPr/>
          <a:lstStyle/>
          <a:p>
            <a:r>
              <a:rPr lang="en-GB" b="0" dirty="0" err="1">
                <a:cs typeface="Arial"/>
              </a:rPr>
              <a:t>Furama</a:t>
            </a:r>
            <a:r>
              <a:rPr lang="en-GB" b="0" dirty="0">
                <a:cs typeface="Arial"/>
              </a:rPr>
              <a:t> – Gen AI Chatbot Assistant </a:t>
            </a:r>
            <a:br>
              <a:rPr lang="en-GB" b="0" dirty="0">
                <a:cs typeface="Arial"/>
              </a:rPr>
            </a:br>
            <a:endParaRPr lang="en-GB" b="0" dirty="0">
              <a:cs typeface="Arial"/>
            </a:endParaRPr>
          </a:p>
        </p:txBody>
      </p:sp>
      <p:sp>
        <p:nvSpPr>
          <p:cNvPr id="9" name="Text Placeholder 8">
            <a:extLst>
              <a:ext uri="{FF2B5EF4-FFF2-40B4-BE49-F238E27FC236}">
                <a16:creationId xmlns:a16="http://schemas.microsoft.com/office/drawing/2014/main" id="{1F527443-D988-D0AD-31C8-670E6CDA880C}"/>
              </a:ext>
            </a:extLst>
          </p:cNvPr>
          <p:cNvSpPr>
            <a:spLocks noGrp="1"/>
          </p:cNvSpPr>
          <p:nvPr>
            <p:ph type="body" sz="quarter" idx="10"/>
          </p:nvPr>
        </p:nvSpPr>
        <p:spPr/>
        <p:txBody>
          <a:bodyPr/>
          <a:lstStyle/>
          <a:p>
            <a:endParaRPr lang="en-AU"/>
          </a:p>
        </p:txBody>
      </p:sp>
      <p:sp>
        <p:nvSpPr>
          <p:cNvPr id="10" name="Text Placeholder 9">
            <a:extLst>
              <a:ext uri="{FF2B5EF4-FFF2-40B4-BE49-F238E27FC236}">
                <a16:creationId xmlns:a16="http://schemas.microsoft.com/office/drawing/2014/main" id="{3F64C00C-9101-54D2-861D-EA15855C8A9B}"/>
              </a:ext>
            </a:extLst>
          </p:cNvPr>
          <p:cNvSpPr>
            <a:spLocks noGrp="1"/>
          </p:cNvSpPr>
          <p:nvPr>
            <p:ph type="body" sz="quarter" idx="11"/>
          </p:nvPr>
        </p:nvSpPr>
        <p:spPr/>
        <p:txBody>
          <a:bodyPr/>
          <a:lstStyle/>
          <a:p>
            <a:endParaRPr lang="en-AU"/>
          </a:p>
        </p:txBody>
      </p:sp>
      <p:sp>
        <p:nvSpPr>
          <p:cNvPr id="11" name="Text Placeholder 10">
            <a:extLst>
              <a:ext uri="{FF2B5EF4-FFF2-40B4-BE49-F238E27FC236}">
                <a16:creationId xmlns:a16="http://schemas.microsoft.com/office/drawing/2014/main" id="{FB4A9BBB-2C86-59A4-D2F1-956FAC998809}"/>
              </a:ext>
            </a:extLst>
          </p:cNvPr>
          <p:cNvSpPr>
            <a:spLocks noGrp="1"/>
          </p:cNvSpPr>
          <p:nvPr>
            <p:ph type="body" sz="quarter" idx="35"/>
          </p:nvPr>
        </p:nvSpPr>
        <p:spPr/>
        <p:txBody>
          <a:bodyPr/>
          <a:lstStyle/>
          <a:p>
            <a:endParaRPr lang="en-AU"/>
          </a:p>
        </p:txBody>
      </p:sp>
      <p:sp>
        <p:nvSpPr>
          <p:cNvPr id="5" name="Text Placeholder 4">
            <a:extLst>
              <a:ext uri="{FF2B5EF4-FFF2-40B4-BE49-F238E27FC236}">
                <a16:creationId xmlns:a16="http://schemas.microsoft.com/office/drawing/2014/main" id="{E0DDAFEB-8420-CF2C-2F86-B077C5809E2A}"/>
              </a:ext>
            </a:extLst>
          </p:cNvPr>
          <p:cNvSpPr>
            <a:spLocks noGrp="1"/>
          </p:cNvSpPr>
          <p:nvPr>
            <p:ph type="body" sz="quarter" idx="12"/>
          </p:nvPr>
        </p:nvSpPr>
        <p:spPr>
          <a:xfrm>
            <a:off x="479423" y="5748020"/>
            <a:ext cx="4544963" cy="252000"/>
          </a:xfrm>
        </p:spPr>
        <p:txBody>
          <a:bodyPr/>
          <a:lstStyle/>
          <a:p>
            <a:r>
              <a:rPr lang="en-GB" err="1"/>
              <a:t>SoftwareOne</a:t>
            </a:r>
            <a:r>
              <a:rPr lang="en-GB"/>
              <a:t> Team</a:t>
            </a:r>
          </a:p>
        </p:txBody>
      </p:sp>
      <p:sp>
        <p:nvSpPr>
          <p:cNvPr id="4" name="Subtitle 3">
            <a:extLst>
              <a:ext uri="{FF2B5EF4-FFF2-40B4-BE49-F238E27FC236}">
                <a16:creationId xmlns:a16="http://schemas.microsoft.com/office/drawing/2014/main" id="{60F311BD-CF58-1AFE-A64D-2590C4700493}"/>
              </a:ext>
            </a:extLst>
          </p:cNvPr>
          <p:cNvSpPr>
            <a:spLocks noGrp="1"/>
          </p:cNvSpPr>
          <p:nvPr>
            <p:ph type="subTitle" idx="1"/>
          </p:nvPr>
        </p:nvSpPr>
        <p:spPr/>
        <p:txBody>
          <a:bodyPr vert="horz" lIns="0" tIns="0" rIns="0" bIns="0" rtlCol="0" anchor="t">
            <a:noAutofit/>
          </a:bodyPr>
          <a:lstStyle/>
          <a:p>
            <a:r>
              <a:rPr lang="en-US"/>
              <a:t>September 2024</a:t>
            </a:r>
            <a:endParaRPr lang="en-SG"/>
          </a:p>
        </p:txBody>
      </p:sp>
    </p:spTree>
    <p:extLst>
      <p:ext uri="{BB962C8B-B14F-4D97-AF65-F5344CB8AC3E}">
        <p14:creationId xmlns:p14="http://schemas.microsoft.com/office/powerpoint/2010/main" val="1915752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BA577-BD08-210D-25D4-AEEEB839CFD1}"/>
            </a:ext>
          </a:extLst>
        </p:cNvPr>
        <p:cNvGrpSpPr/>
        <p:nvPr/>
      </p:nvGrpSpPr>
      <p:grpSpPr>
        <a:xfrm>
          <a:off x="0" y="0"/>
          <a:ext cx="0" cy="0"/>
          <a:chOff x="0" y="0"/>
          <a:chExt cx="0" cy="0"/>
        </a:xfrm>
      </p:grpSpPr>
      <p:sp>
        <p:nvSpPr>
          <p:cNvPr id="27" name="Slide Number Placeholder 5">
            <a:extLst>
              <a:ext uri="{FF2B5EF4-FFF2-40B4-BE49-F238E27FC236}">
                <a16:creationId xmlns:a16="http://schemas.microsoft.com/office/drawing/2014/main" id="{FBE88E31-7FE0-2634-F5A6-9EC0CF8CB732}"/>
              </a:ext>
            </a:extLst>
          </p:cNvPr>
          <p:cNvSpPr txBox="1">
            <a:spLocks/>
          </p:cNvSpPr>
          <p:nvPr/>
        </p:nvSpPr>
        <p:spPr>
          <a:xfrm>
            <a:off x="479425" y="6339948"/>
            <a:ext cx="173038" cy="169200"/>
          </a:xfrm>
          <a:prstGeom prst="rect">
            <a:avLst/>
          </a:prstGeom>
        </p:spPr>
        <p:txBody>
          <a:bodyPr lIns="0" tIns="0" rIns="0" bIns="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4C2AD82-1025-4508-97C1-6F7EE5C92734}" type="slidenum">
              <a:rPr kumimoji="0" lang="en-GB"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prstClr val="black"/>
              </a:solidFill>
              <a:effectLst/>
              <a:uLnTx/>
              <a:uFillTx/>
              <a:latin typeface="Arial"/>
              <a:ea typeface="+mn-ea"/>
              <a:cs typeface="+mn-cs"/>
            </a:endParaRPr>
          </a:p>
        </p:txBody>
      </p:sp>
      <p:sp>
        <p:nvSpPr>
          <p:cNvPr id="22" name="TextBox 21">
            <a:extLst>
              <a:ext uri="{FF2B5EF4-FFF2-40B4-BE49-F238E27FC236}">
                <a16:creationId xmlns:a16="http://schemas.microsoft.com/office/drawing/2014/main" id="{E0F03694-79C1-29BA-E0EC-B63442B9F5DA}"/>
              </a:ext>
            </a:extLst>
          </p:cNvPr>
          <p:cNvSpPr txBox="1"/>
          <p:nvPr/>
        </p:nvSpPr>
        <p:spPr>
          <a:xfrm>
            <a:off x="475487" y="5325463"/>
            <a:ext cx="548640" cy="76944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5000" b="1" i="0" u="none" strike="noStrike" kern="1200" cap="none" spc="0" normalizeH="0" baseline="0" noProof="0">
              <a:ln>
                <a:noFill/>
              </a:ln>
              <a:solidFill>
                <a:srgbClr val="E7E6E6"/>
              </a:solidFill>
              <a:effectLst/>
              <a:uLnTx/>
              <a:uFillTx/>
              <a:latin typeface="Arial"/>
              <a:ea typeface="+mn-ea"/>
              <a:cs typeface="+mn-cs"/>
            </a:endParaRPr>
          </a:p>
        </p:txBody>
      </p:sp>
      <p:pic>
        <p:nvPicPr>
          <p:cNvPr id="1025" name="Picture 1">
            <a:extLst>
              <a:ext uri="{FF2B5EF4-FFF2-40B4-BE49-F238E27FC236}">
                <a16:creationId xmlns:a16="http://schemas.microsoft.com/office/drawing/2014/main" id="{2EE6D2D1-2E89-C675-7485-D1DE3093F1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3192" y="189383"/>
            <a:ext cx="8446416" cy="6319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7955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DC749-2FE9-96F6-57D5-5A133B14202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4E36CC8-4940-E991-6D87-998FB3283385}"/>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11</a:t>
            </a:fld>
            <a:endParaRPr lang="en-AU"/>
          </a:p>
        </p:txBody>
      </p:sp>
      <p:sp>
        <p:nvSpPr>
          <p:cNvPr id="5" name="Title 4">
            <a:extLst>
              <a:ext uri="{FF2B5EF4-FFF2-40B4-BE49-F238E27FC236}">
                <a16:creationId xmlns:a16="http://schemas.microsoft.com/office/drawing/2014/main" id="{138AD4CB-9EB4-0714-B9EB-6F3C0B26EB11}"/>
              </a:ext>
            </a:extLst>
          </p:cNvPr>
          <p:cNvSpPr>
            <a:spLocks noGrp="1"/>
          </p:cNvSpPr>
          <p:nvPr>
            <p:ph type="title"/>
          </p:nvPr>
        </p:nvSpPr>
        <p:spPr/>
        <p:txBody>
          <a:bodyPr/>
          <a:lstStyle/>
          <a:p>
            <a:r>
              <a:rPr lang="en-US" dirty="0"/>
              <a:t>Pilot Scope</a:t>
            </a:r>
            <a:endParaRPr lang="en-SG" dirty="0"/>
          </a:p>
        </p:txBody>
      </p:sp>
      <p:sp>
        <p:nvSpPr>
          <p:cNvPr id="11" name="Content Placeholder 5">
            <a:extLst>
              <a:ext uri="{FF2B5EF4-FFF2-40B4-BE49-F238E27FC236}">
                <a16:creationId xmlns:a16="http://schemas.microsoft.com/office/drawing/2014/main" id="{8314FFDA-A265-F266-8E21-90064FA27C4F}"/>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Approach &amp; Solution</a:t>
            </a:r>
            <a:endParaRPr lang="en-AU"/>
          </a:p>
        </p:txBody>
      </p:sp>
      <p:sp>
        <p:nvSpPr>
          <p:cNvPr id="6" name="Content Placeholder 5">
            <a:extLst>
              <a:ext uri="{FF2B5EF4-FFF2-40B4-BE49-F238E27FC236}">
                <a16:creationId xmlns:a16="http://schemas.microsoft.com/office/drawing/2014/main" id="{69A664B3-0F44-1F8D-2E74-B7C6BBE73ACF}"/>
              </a:ext>
            </a:extLst>
          </p:cNvPr>
          <p:cNvSpPr txBox="1">
            <a:spLocks/>
          </p:cNvSpPr>
          <p:nvPr/>
        </p:nvSpPr>
        <p:spPr>
          <a:xfrm>
            <a:off x="479426" y="1238251"/>
            <a:ext cx="11411548" cy="4667250"/>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vert="horz" wrap="square" lIns="0" tIns="0" rIns="0" bIns="0" rtlCol="0" anchor="t">
            <a:noAutofit/>
          </a:bodyPr>
          <a:lstStyle>
            <a:lvl1pPr marL="0" indent="0" algn="l" defTabSz="914400" rtl="0" eaLnBrk="1" latinLnBrk="0" hangingPunct="1">
              <a:lnSpc>
                <a:spcPct val="100000"/>
              </a:lnSpc>
              <a:spcBef>
                <a:spcPts val="0"/>
              </a:spcBef>
              <a:spcAft>
                <a:spcPts val="1800"/>
              </a:spcAft>
              <a:buFont typeface="Arial" panose="020B0604020202020204" pitchFamily="34" charset="0"/>
              <a:buNone/>
              <a:defRPr sz="1400" b="0" kern="120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0"/>
              </a:spcAft>
              <a:buClrTx/>
              <a:buFont typeface="Arial" panose="020B0604020202020204" pitchFamily="34" charset="0"/>
              <a:buChar char="›"/>
              <a:tabLst>
                <a:tab pos="180000" algn="l"/>
              </a:tabLst>
              <a:defRPr sz="1400" kern="1200">
                <a:solidFill>
                  <a:schemeClr val="tx1"/>
                </a:solidFill>
                <a:latin typeface="+mn-lt"/>
                <a:ea typeface="+mn-ea"/>
                <a:cs typeface="+mn-cs"/>
              </a:defRPr>
            </a:lvl2pPr>
            <a:lvl3pPr marL="360363" indent="-180000" algn="l" defTabSz="914400" rtl="0" eaLnBrk="1" latinLnBrk="0" hangingPunct="1">
              <a:lnSpc>
                <a:spcPct val="100000"/>
              </a:lnSpc>
              <a:spcBef>
                <a:spcPts val="300"/>
              </a:spcBef>
              <a:spcAft>
                <a:spcPts val="300"/>
              </a:spcAft>
              <a:buClrTx/>
              <a:buFont typeface="Arial" panose="020B0604020202020204" pitchFamily="34" charset="0"/>
              <a:buChar char="•"/>
              <a:tabLst>
                <a:tab pos="360000" algn="l"/>
              </a:tabLst>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ClrTx/>
              <a:buFont typeface="Airal" pitchFamily="2" charset="0"/>
              <a:buNone/>
              <a:tabLst/>
              <a:defRPr sz="1200" kern="1200">
                <a:solidFill>
                  <a:schemeClr val="accent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50000"/>
              </a:lnSpc>
              <a:buFont typeface="+mj-lt"/>
              <a:buAutoNum type="arabicPeriod"/>
            </a:pPr>
            <a:r>
              <a:rPr lang="en-US" dirty="0">
                <a:latin typeface="Arial"/>
                <a:cs typeface="Calibri"/>
              </a:rPr>
              <a:t>Deep dive discovery with stakeholders to analyze documents that needs to be ingested into the knowledge base gen ai powered chatbot assistant.</a:t>
            </a:r>
          </a:p>
          <a:p>
            <a:pPr marL="342900" lvl="1" indent="-342900">
              <a:lnSpc>
                <a:spcPct val="150000"/>
              </a:lnSpc>
              <a:buAutoNum type="arabicPeriod"/>
            </a:pPr>
            <a:r>
              <a:rPr lang="en-US" dirty="0">
                <a:latin typeface="Arial"/>
                <a:cs typeface="Calibri"/>
              </a:rPr>
              <a:t>Develop a frontend chatbot interface that users will use to ask contextual information.</a:t>
            </a:r>
            <a:endParaRPr lang="en-US" dirty="0">
              <a:latin typeface="Arial"/>
              <a:ea typeface="Calibri"/>
              <a:cs typeface="Calibri"/>
            </a:endParaRPr>
          </a:p>
          <a:p>
            <a:pPr marL="342900" lvl="1" indent="-342900">
              <a:lnSpc>
                <a:spcPct val="150000"/>
              </a:lnSpc>
              <a:buAutoNum type="arabicPeriod"/>
            </a:pPr>
            <a:r>
              <a:rPr lang="en-US" dirty="0">
                <a:latin typeface="Arial"/>
                <a:cs typeface="Calibri"/>
              </a:rPr>
              <a:t>Develop a RAG workflow that queries the LLM and augments it with data from knowledge base to generate user response.</a:t>
            </a:r>
          </a:p>
          <a:p>
            <a:pPr marL="342900" lvl="1" indent="-342900">
              <a:lnSpc>
                <a:spcPct val="150000"/>
              </a:lnSpc>
              <a:buAutoNum type="arabicPeriod"/>
            </a:pPr>
            <a:r>
              <a:rPr lang="en-US" dirty="0">
                <a:latin typeface="Arial"/>
                <a:cs typeface="Calibri"/>
              </a:rPr>
              <a:t>Integrate the chatbot with </a:t>
            </a:r>
            <a:r>
              <a:rPr lang="en-US" dirty="0" err="1">
                <a:latin typeface="Arial"/>
                <a:cs typeface="Calibri"/>
              </a:rPr>
              <a:t>Furama</a:t>
            </a:r>
            <a:r>
              <a:rPr lang="en-US" dirty="0">
                <a:latin typeface="Arial"/>
                <a:cs typeface="Calibri"/>
              </a:rPr>
              <a:t> Reservation Management Systems.</a:t>
            </a:r>
          </a:p>
          <a:p>
            <a:pPr marL="342900" lvl="1" indent="-342900">
              <a:lnSpc>
                <a:spcPct val="150000"/>
              </a:lnSpc>
              <a:buAutoNum type="arabicPeriod"/>
            </a:pPr>
            <a:r>
              <a:rPr lang="en-US" dirty="0">
                <a:latin typeface="Arial"/>
                <a:cs typeface="Calibri"/>
              </a:rPr>
              <a:t>Integrate the chatbot with </a:t>
            </a:r>
            <a:r>
              <a:rPr lang="en-US" dirty="0" err="1">
                <a:latin typeface="Arial"/>
                <a:cs typeface="Calibri"/>
              </a:rPr>
              <a:t>Furama</a:t>
            </a:r>
            <a:r>
              <a:rPr lang="en-US" dirty="0">
                <a:latin typeface="Arial"/>
                <a:cs typeface="Calibri"/>
              </a:rPr>
              <a:t> existing website. </a:t>
            </a:r>
            <a:endParaRPr lang="en-US" dirty="0">
              <a:latin typeface="Arial"/>
              <a:cs typeface="Arial"/>
            </a:endParaRPr>
          </a:p>
          <a:p>
            <a:pPr marL="342900" lvl="1" indent="-342900">
              <a:lnSpc>
                <a:spcPct val="150000"/>
              </a:lnSpc>
              <a:buAutoNum type="arabicPeriod"/>
            </a:pPr>
            <a:r>
              <a:rPr lang="en-US" dirty="0">
                <a:latin typeface="Arial"/>
                <a:ea typeface="Calibri"/>
                <a:cs typeface="Calibri"/>
              </a:rPr>
              <a:t>Functional and User Acceptance Testing.</a:t>
            </a:r>
            <a:endParaRPr lang="en-AU" dirty="0">
              <a:latin typeface="Arial"/>
              <a:ea typeface="Calibri"/>
              <a:cs typeface="Calibri"/>
            </a:endParaRPr>
          </a:p>
          <a:p>
            <a:pPr marL="342900" lvl="1" indent="-342900">
              <a:lnSpc>
                <a:spcPct val="150000"/>
              </a:lnSpc>
              <a:buAutoNum type="arabicPeriod"/>
            </a:pPr>
            <a:r>
              <a:rPr lang="en-US" dirty="0">
                <a:latin typeface="Arial"/>
                <a:ea typeface="Calibri"/>
                <a:cs typeface="Calibri"/>
              </a:rPr>
              <a:t>Documentation and Training for Gen AI Chatbot</a:t>
            </a:r>
          </a:p>
        </p:txBody>
      </p:sp>
    </p:spTree>
    <p:extLst>
      <p:ext uri="{BB962C8B-B14F-4D97-AF65-F5344CB8AC3E}">
        <p14:creationId xmlns:p14="http://schemas.microsoft.com/office/powerpoint/2010/main" val="302322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F931A-4559-BC96-CC27-630EAF885ED4}"/>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6E048F-D3CA-9FBD-D2F0-3780A5EC9EC8}"/>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12</a:t>
            </a:fld>
            <a:endParaRPr lang="en-AU"/>
          </a:p>
        </p:txBody>
      </p:sp>
      <p:sp>
        <p:nvSpPr>
          <p:cNvPr id="5" name="Title 4">
            <a:extLst>
              <a:ext uri="{FF2B5EF4-FFF2-40B4-BE49-F238E27FC236}">
                <a16:creationId xmlns:a16="http://schemas.microsoft.com/office/drawing/2014/main" id="{5C415AC6-CD15-FB5A-9170-F4D1D39E1FAB}"/>
              </a:ext>
            </a:extLst>
          </p:cNvPr>
          <p:cNvSpPr>
            <a:spLocks noGrp="1"/>
          </p:cNvSpPr>
          <p:nvPr>
            <p:ph type="title"/>
          </p:nvPr>
        </p:nvSpPr>
        <p:spPr/>
        <p:txBody>
          <a:bodyPr/>
          <a:lstStyle/>
          <a:p>
            <a:r>
              <a:rPr lang="en-US"/>
              <a:t>Pilot Deliverables</a:t>
            </a:r>
            <a:endParaRPr lang="en-SG"/>
          </a:p>
        </p:txBody>
      </p:sp>
      <p:sp>
        <p:nvSpPr>
          <p:cNvPr id="11" name="Content Placeholder 5">
            <a:extLst>
              <a:ext uri="{FF2B5EF4-FFF2-40B4-BE49-F238E27FC236}">
                <a16:creationId xmlns:a16="http://schemas.microsoft.com/office/drawing/2014/main" id="{1389C068-47E1-E4CD-C91D-0F8CB5E1F179}"/>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Approach &amp; Solution</a:t>
            </a:r>
            <a:endParaRPr lang="en-AU"/>
          </a:p>
        </p:txBody>
      </p:sp>
      <p:sp>
        <p:nvSpPr>
          <p:cNvPr id="6" name="TextBox 5">
            <a:extLst>
              <a:ext uri="{FF2B5EF4-FFF2-40B4-BE49-F238E27FC236}">
                <a16:creationId xmlns:a16="http://schemas.microsoft.com/office/drawing/2014/main" id="{BB38992A-1B32-603F-19E9-1ED1B20BA766}"/>
              </a:ext>
            </a:extLst>
          </p:cNvPr>
          <p:cNvSpPr txBox="1"/>
          <p:nvPr/>
        </p:nvSpPr>
        <p:spPr>
          <a:xfrm>
            <a:off x="563217" y="1371600"/>
            <a:ext cx="10959547" cy="375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lvl="1">
              <a:lnSpc>
                <a:spcPct val="150000"/>
              </a:lnSpc>
              <a:tabLst>
                <a:tab pos="180000" algn="l"/>
              </a:tabLst>
            </a:pPr>
            <a:r>
              <a:rPr lang="en-US" sz="1400" dirty="0">
                <a:latin typeface="Arial"/>
                <a:cs typeface="Calibri"/>
              </a:rPr>
              <a:t>Gen AI Powered Chatbot deployed on </a:t>
            </a:r>
            <a:r>
              <a:rPr lang="en-US" sz="1400" dirty="0" err="1">
                <a:latin typeface="Arial"/>
                <a:cs typeface="Calibri"/>
              </a:rPr>
              <a:t>Furama</a:t>
            </a:r>
            <a:r>
              <a:rPr lang="en-US" sz="1400" dirty="0">
                <a:latin typeface="Arial"/>
                <a:cs typeface="Calibri"/>
              </a:rPr>
              <a:t> Website.</a:t>
            </a:r>
            <a:endParaRPr lang="en-US" sz="1400" dirty="0">
              <a:latin typeface="Arial"/>
              <a:ea typeface="Calibri"/>
              <a:cs typeface="Calibri"/>
            </a:endParaRPr>
          </a:p>
        </p:txBody>
      </p:sp>
    </p:spTree>
    <p:extLst>
      <p:ext uri="{BB962C8B-B14F-4D97-AF65-F5344CB8AC3E}">
        <p14:creationId xmlns:p14="http://schemas.microsoft.com/office/powerpoint/2010/main" val="23975844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38F53-9C7B-FABE-DBF9-29DFB6DF0E3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613F83D-E254-0FDD-70C3-A57577858B2D}"/>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13</a:t>
            </a:fld>
            <a:endParaRPr lang="en-AU"/>
          </a:p>
        </p:txBody>
      </p:sp>
      <p:sp>
        <p:nvSpPr>
          <p:cNvPr id="5" name="Title 4">
            <a:extLst>
              <a:ext uri="{FF2B5EF4-FFF2-40B4-BE49-F238E27FC236}">
                <a16:creationId xmlns:a16="http://schemas.microsoft.com/office/drawing/2014/main" id="{7A6B9678-519B-1AC8-5EAB-B1BEC0640AE1}"/>
              </a:ext>
            </a:extLst>
          </p:cNvPr>
          <p:cNvSpPr>
            <a:spLocks noGrp="1"/>
          </p:cNvSpPr>
          <p:nvPr>
            <p:ph type="title"/>
          </p:nvPr>
        </p:nvSpPr>
        <p:spPr/>
        <p:txBody>
          <a:bodyPr/>
          <a:lstStyle/>
          <a:p>
            <a:r>
              <a:rPr lang="en-US"/>
              <a:t>Pilot Assumptions</a:t>
            </a:r>
            <a:endParaRPr lang="en-SG"/>
          </a:p>
        </p:txBody>
      </p:sp>
      <p:sp>
        <p:nvSpPr>
          <p:cNvPr id="11" name="Content Placeholder 5">
            <a:extLst>
              <a:ext uri="{FF2B5EF4-FFF2-40B4-BE49-F238E27FC236}">
                <a16:creationId xmlns:a16="http://schemas.microsoft.com/office/drawing/2014/main" id="{1F3876AA-3791-CDC4-4E4D-E5506879D137}"/>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Approach &amp; Solution</a:t>
            </a:r>
            <a:endParaRPr lang="en-AU"/>
          </a:p>
        </p:txBody>
      </p:sp>
      <p:sp>
        <p:nvSpPr>
          <p:cNvPr id="4" name="TextBox 3">
            <a:extLst>
              <a:ext uri="{FF2B5EF4-FFF2-40B4-BE49-F238E27FC236}">
                <a16:creationId xmlns:a16="http://schemas.microsoft.com/office/drawing/2014/main" id="{2B0A6E19-7F44-11FA-0C24-427A4DA8B0B5}"/>
              </a:ext>
            </a:extLst>
          </p:cNvPr>
          <p:cNvSpPr txBox="1"/>
          <p:nvPr/>
        </p:nvSpPr>
        <p:spPr>
          <a:xfrm>
            <a:off x="477918" y="1098645"/>
            <a:ext cx="11567671" cy="15556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lvl="1" indent="-342900">
              <a:lnSpc>
                <a:spcPct val="150000"/>
              </a:lnSpc>
              <a:buFont typeface="+mj-lt"/>
              <a:buAutoNum type="arabicPeriod"/>
              <a:tabLst>
                <a:tab pos="180000" algn="l"/>
              </a:tabLst>
            </a:pPr>
            <a:r>
              <a:rPr lang="en-SG" sz="1300" dirty="0">
                <a:latin typeface="Arial"/>
                <a:cs typeface="Calibri"/>
              </a:rPr>
              <a:t>Sufficient historical data exists for training the chatbot effectively, including FAQs and typical customer inquiries.</a:t>
            </a:r>
            <a:endParaRPr lang="en-AU" sz="1300" dirty="0">
              <a:latin typeface="Arial"/>
              <a:cs typeface="Calibri"/>
            </a:endParaRPr>
          </a:p>
          <a:p>
            <a:pPr marL="342900" lvl="1" indent="-342900">
              <a:lnSpc>
                <a:spcPct val="150000"/>
              </a:lnSpc>
              <a:buFont typeface="+mj-lt"/>
              <a:buAutoNum type="arabicPeriod"/>
              <a:tabLst>
                <a:tab pos="180000" algn="l"/>
              </a:tabLst>
            </a:pPr>
            <a:r>
              <a:rPr lang="en-AU" sz="1300" dirty="0" err="1">
                <a:latin typeface="Arial"/>
                <a:cs typeface="Calibri"/>
              </a:rPr>
              <a:t>Furama</a:t>
            </a:r>
            <a:r>
              <a:rPr lang="en-AU" sz="1300" dirty="0">
                <a:latin typeface="Arial"/>
                <a:cs typeface="Calibri"/>
              </a:rPr>
              <a:t> team and </a:t>
            </a:r>
            <a:r>
              <a:rPr lang="en-AU" sz="1300" dirty="0" err="1">
                <a:latin typeface="Arial"/>
                <a:cs typeface="Calibri"/>
              </a:rPr>
              <a:t>SoftwareOne</a:t>
            </a:r>
            <a:r>
              <a:rPr lang="en-AU" sz="1300" dirty="0">
                <a:latin typeface="Arial"/>
                <a:cs typeface="Calibri"/>
              </a:rPr>
              <a:t> to work to together on integrating the chatbot to their website.</a:t>
            </a:r>
            <a:endParaRPr lang="en-US" sz="1300" dirty="0">
              <a:latin typeface="Arial"/>
              <a:cs typeface="Calibri"/>
            </a:endParaRPr>
          </a:p>
          <a:p>
            <a:pPr marL="342900" lvl="1" indent="-342900">
              <a:lnSpc>
                <a:spcPct val="150000"/>
              </a:lnSpc>
              <a:buFont typeface="+mj-lt"/>
              <a:buAutoNum type="arabicPeriod"/>
              <a:tabLst>
                <a:tab pos="180000" algn="l"/>
              </a:tabLst>
            </a:pPr>
            <a:r>
              <a:rPr lang="en-AU" sz="1300" dirty="0">
                <a:latin typeface="Arial"/>
                <a:cs typeface="Calibri"/>
              </a:rPr>
              <a:t>2 AWS accounts will be provisioned for building the chatbot - DEV and PROD.</a:t>
            </a:r>
          </a:p>
          <a:p>
            <a:pPr marL="342900" lvl="1" indent="-342900">
              <a:lnSpc>
                <a:spcPct val="150000"/>
              </a:lnSpc>
              <a:buAutoNum type="arabicPeriod"/>
              <a:tabLst>
                <a:tab pos="180000" algn="l"/>
              </a:tabLst>
            </a:pPr>
            <a:r>
              <a:rPr lang="en-AU" sz="1300" dirty="0">
                <a:latin typeface="Arial"/>
                <a:cs typeface="Calibri"/>
              </a:rPr>
              <a:t>All work will be performed remotely using a hybrid delivery model that combines onshore and offshore resources.</a:t>
            </a:r>
            <a:endParaRPr lang="en-US" sz="1300" dirty="0">
              <a:latin typeface="Arial"/>
              <a:cs typeface="Calibri"/>
            </a:endParaRPr>
          </a:p>
          <a:p>
            <a:pPr marL="342900" lvl="1" indent="-342900">
              <a:lnSpc>
                <a:spcPct val="150000"/>
              </a:lnSpc>
              <a:buFont typeface="+mj-lt"/>
              <a:buAutoNum type="arabicPeriod"/>
              <a:tabLst>
                <a:tab pos="180000" algn="l"/>
              </a:tabLst>
            </a:pPr>
            <a:r>
              <a:rPr lang="en-AU" sz="1300" dirty="0">
                <a:latin typeface="Arial"/>
                <a:cs typeface="Calibri"/>
              </a:rPr>
              <a:t>All documents will be provided in English.</a:t>
            </a:r>
          </a:p>
        </p:txBody>
      </p:sp>
    </p:spTree>
    <p:extLst>
      <p:ext uri="{BB962C8B-B14F-4D97-AF65-F5344CB8AC3E}">
        <p14:creationId xmlns:p14="http://schemas.microsoft.com/office/powerpoint/2010/main" val="16117276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E4CAB-BA44-1A4F-A7E3-88DB95390A7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CA7C5A6-1170-4850-481B-3A6B0D9A7192}"/>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14</a:t>
            </a:fld>
            <a:endParaRPr lang="en-AU"/>
          </a:p>
        </p:txBody>
      </p:sp>
      <p:sp>
        <p:nvSpPr>
          <p:cNvPr id="5" name="Title 4">
            <a:extLst>
              <a:ext uri="{FF2B5EF4-FFF2-40B4-BE49-F238E27FC236}">
                <a16:creationId xmlns:a16="http://schemas.microsoft.com/office/drawing/2014/main" id="{C3594869-1E33-3674-17FE-4D6B0B26E219}"/>
              </a:ext>
            </a:extLst>
          </p:cNvPr>
          <p:cNvSpPr>
            <a:spLocks noGrp="1"/>
          </p:cNvSpPr>
          <p:nvPr>
            <p:ph type="title"/>
          </p:nvPr>
        </p:nvSpPr>
        <p:spPr/>
        <p:txBody>
          <a:bodyPr/>
          <a:lstStyle/>
          <a:p>
            <a:r>
              <a:rPr lang="en-US"/>
              <a:t>Exclusions &amp; Dependencies</a:t>
            </a:r>
            <a:endParaRPr lang="en-SG"/>
          </a:p>
        </p:txBody>
      </p:sp>
      <p:sp>
        <p:nvSpPr>
          <p:cNvPr id="11" name="Content Placeholder 5">
            <a:extLst>
              <a:ext uri="{FF2B5EF4-FFF2-40B4-BE49-F238E27FC236}">
                <a16:creationId xmlns:a16="http://schemas.microsoft.com/office/drawing/2014/main" id="{948CF088-51BC-A957-0E88-F3F8E69AD8AE}"/>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Approach &amp; Solution</a:t>
            </a:r>
            <a:endParaRPr lang="en-AU"/>
          </a:p>
        </p:txBody>
      </p:sp>
      <p:sp>
        <p:nvSpPr>
          <p:cNvPr id="6" name="Content Placeholder 5">
            <a:extLst>
              <a:ext uri="{FF2B5EF4-FFF2-40B4-BE49-F238E27FC236}">
                <a16:creationId xmlns:a16="http://schemas.microsoft.com/office/drawing/2014/main" id="{5E85EC62-E1C1-D459-6C9F-30D12D0D4433}"/>
              </a:ext>
            </a:extLst>
          </p:cNvPr>
          <p:cNvSpPr txBox="1">
            <a:spLocks/>
          </p:cNvSpPr>
          <p:nvPr/>
        </p:nvSpPr>
        <p:spPr>
          <a:xfrm>
            <a:off x="479426" y="1143001"/>
            <a:ext cx="11422356" cy="4948271"/>
          </a:xfrm>
          <a:custGeom>
            <a:avLst/>
            <a:gdLst>
              <a:gd name="connsiteX0" fmla="*/ 0 w 3330575"/>
              <a:gd name="connsiteY0" fmla="*/ 0 h 3795712"/>
              <a:gd name="connsiteX1" fmla="*/ 3330575 w 3330575"/>
              <a:gd name="connsiteY1" fmla="*/ 0 h 3795712"/>
              <a:gd name="connsiteX2" fmla="*/ 3330575 w 3330575"/>
              <a:gd name="connsiteY2" fmla="*/ 3795712 h 3795712"/>
              <a:gd name="connsiteX3" fmla="*/ 0 w 3330575"/>
              <a:gd name="connsiteY3" fmla="*/ 3795712 h 3795712"/>
            </a:gdLst>
            <a:ahLst/>
            <a:cxnLst>
              <a:cxn ang="0">
                <a:pos x="connsiteX0" y="connsiteY0"/>
              </a:cxn>
              <a:cxn ang="0">
                <a:pos x="connsiteX1" y="connsiteY1"/>
              </a:cxn>
              <a:cxn ang="0">
                <a:pos x="connsiteX2" y="connsiteY2"/>
              </a:cxn>
              <a:cxn ang="0">
                <a:pos x="connsiteX3" y="connsiteY3"/>
              </a:cxn>
            </a:cxnLst>
            <a:rect l="l" t="t" r="r" b="b"/>
            <a:pathLst>
              <a:path w="3330575" h="3795712">
                <a:moveTo>
                  <a:pt x="0" y="0"/>
                </a:moveTo>
                <a:lnTo>
                  <a:pt x="3330575" y="0"/>
                </a:lnTo>
                <a:lnTo>
                  <a:pt x="3330575" y="3795712"/>
                </a:lnTo>
                <a:lnTo>
                  <a:pt x="0" y="3795712"/>
                </a:lnTo>
                <a:close/>
              </a:path>
            </a:pathLst>
          </a:custGeom>
        </p:spPr>
        <p:txBody>
          <a:bodyPr vert="horz" wrap="square" lIns="0" tIns="0" rIns="0" bIns="0" rtlCol="0" anchor="t">
            <a:noAutofit/>
          </a:bodyPr>
          <a:lstStyle>
            <a:lvl1pPr marL="0" indent="0" algn="l" defTabSz="914400" rtl="0" eaLnBrk="1" latinLnBrk="0" hangingPunct="1">
              <a:lnSpc>
                <a:spcPct val="100000"/>
              </a:lnSpc>
              <a:spcBef>
                <a:spcPts val="0"/>
              </a:spcBef>
              <a:spcAft>
                <a:spcPts val="1800"/>
              </a:spcAft>
              <a:buFont typeface="Arial" panose="020B0604020202020204" pitchFamily="34" charset="0"/>
              <a:buNone/>
              <a:defRPr sz="1400" b="0" kern="120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0"/>
              </a:spcAft>
              <a:buClrTx/>
              <a:buFont typeface="Arial" panose="020B0604020202020204" pitchFamily="34" charset="0"/>
              <a:buChar char="›"/>
              <a:tabLst>
                <a:tab pos="180000" algn="l"/>
              </a:tabLst>
              <a:defRPr sz="1400" kern="1200">
                <a:solidFill>
                  <a:schemeClr val="tx1"/>
                </a:solidFill>
                <a:latin typeface="+mn-lt"/>
                <a:ea typeface="+mn-ea"/>
                <a:cs typeface="+mn-cs"/>
              </a:defRPr>
            </a:lvl2pPr>
            <a:lvl3pPr marL="360363" indent="-180000" algn="l" defTabSz="914400" rtl="0" eaLnBrk="1" latinLnBrk="0" hangingPunct="1">
              <a:lnSpc>
                <a:spcPct val="100000"/>
              </a:lnSpc>
              <a:spcBef>
                <a:spcPts val="300"/>
              </a:spcBef>
              <a:spcAft>
                <a:spcPts val="300"/>
              </a:spcAft>
              <a:buClrTx/>
              <a:buFont typeface="Arial" panose="020B0604020202020204" pitchFamily="34" charset="0"/>
              <a:buChar char="•"/>
              <a:tabLst>
                <a:tab pos="360000" algn="l"/>
              </a:tabLst>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ClrTx/>
              <a:buFont typeface="Airal" pitchFamily="2" charset="0"/>
              <a:buNone/>
              <a:tabLst/>
              <a:defRPr sz="1200" kern="1200">
                <a:solidFill>
                  <a:schemeClr val="accent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800"/>
              </a:spcAft>
            </a:pPr>
            <a:r>
              <a:rPr lang="en-US" b="1" dirty="0">
                <a:solidFill>
                  <a:schemeClr val="tx2"/>
                </a:solidFill>
                <a:latin typeface="Arial"/>
                <a:cs typeface="Calibri"/>
              </a:rPr>
              <a:t>Exclusions:</a:t>
            </a:r>
          </a:p>
          <a:p>
            <a:pPr marL="285750" indent="-285750">
              <a:spcAft>
                <a:spcPts val="800"/>
              </a:spcAft>
              <a:buFont typeface="Arial" panose="020B0604020202020204" pitchFamily="34" charset="0"/>
              <a:buChar char="•"/>
            </a:pPr>
            <a:r>
              <a:rPr lang="en-US" dirty="0">
                <a:latin typeface="Arial"/>
                <a:ea typeface="Calibri"/>
                <a:cs typeface="Calibri"/>
              </a:rPr>
              <a:t>Landing Zone Implementation.</a:t>
            </a:r>
          </a:p>
          <a:p>
            <a:pPr marL="285750" indent="-285750">
              <a:spcAft>
                <a:spcPts val="800"/>
              </a:spcAft>
              <a:buFont typeface="Arial" panose="020B0604020202020204" pitchFamily="34" charset="0"/>
              <a:buChar char="•"/>
            </a:pPr>
            <a:r>
              <a:rPr lang="en-US" dirty="0">
                <a:latin typeface="Arial"/>
                <a:ea typeface="Calibri"/>
                <a:cs typeface="Calibri"/>
              </a:rPr>
              <a:t>Adding custom chunking strategies that are not provided by AWS Bedrock.</a:t>
            </a:r>
          </a:p>
          <a:p>
            <a:pPr marL="285750" indent="-285750">
              <a:spcAft>
                <a:spcPts val="800"/>
              </a:spcAft>
              <a:buFont typeface="Arial" panose="020B0604020202020204" pitchFamily="34" charset="0"/>
              <a:buChar char="•"/>
            </a:pPr>
            <a:r>
              <a:rPr lang="en-US" dirty="0">
                <a:latin typeface="Arial"/>
                <a:ea typeface="Calibri"/>
                <a:cs typeface="Calibri"/>
              </a:rPr>
              <a:t>Integrating with generative AI models not supported by AWS Bedrock.</a:t>
            </a:r>
          </a:p>
          <a:p>
            <a:pPr marL="285750" indent="-285750">
              <a:spcAft>
                <a:spcPts val="800"/>
              </a:spcAft>
              <a:buFont typeface="Arial" panose="020B0604020202020204" pitchFamily="34" charset="0"/>
              <a:buChar char="•"/>
            </a:pPr>
            <a:r>
              <a:rPr lang="en-AU" dirty="0">
                <a:latin typeface="Arial"/>
                <a:cs typeface="Calibri"/>
              </a:rPr>
              <a:t>Any item not defined in scope is considered out of scope.</a:t>
            </a:r>
            <a:endParaRPr lang="en-AU" sz="1300" dirty="0">
              <a:latin typeface="Arial"/>
              <a:cs typeface="Arial"/>
            </a:endParaRPr>
          </a:p>
          <a:p>
            <a:pPr marL="285750" indent="-285750">
              <a:spcAft>
                <a:spcPts val="800"/>
              </a:spcAft>
              <a:buChar char="•"/>
            </a:pPr>
            <a:endParaRPr lang="en-US" dirty="0">
              <a:latin typeface="Arial"/>
              <a:cs typeface="Calibri"/>
            </a:endParaRPr>
          </a:p>
          <a:p>
            <a:pPr>
              <a:spcAft>
                <a:spcPts val="800"/>
              </a:spcAft>
            </a:pPr>
            <a:r>
              <a:rPr lang="en-AU" b="1" dirty="0">
                <a:solidFill>
                  <a:schemeClr val="tx2"/>
                </a:solidFill>
                <a:latin typeface="Arial"/>
                <a:cs typeface="Calibri"/>
              </a:rPr>
              <a:t>Dependencies:</a:t>
            </a:r>
          </a:p>
          <a:p>
            <a:pPr marL="171450" indent="-171450">
              <a:spcAft>
                <a:spcPts val="800"/>
              </a:spcAft>
              <a:buChar char="•"/>
            </a:pPr>
            <a:r>
              <a:rPr lang="en-AU" dirty="0">
                <a:latin typeface="Arial"/>
                <a:cs typeface="Calibri"/>
              </a:rPr>
              <a:t>Stakeholders availability for discovery workshops, training and user acceptance testing</a:t>
            </a:r>
            <a:endParaRPr lang="en-AU" dirty="0">
              <a:latin typeface="Arial"/>
              <a:ea typeface="Calibri"/>
              <a:cs typeface="Calibri"/>
            </a:endParaRPr>
          </a:p>
          <a:p>
            <a:pPr marL="171450" indent="-171450">
              <a:spcAft>
                <a:spcPts val="800"/>
              </a:spcAft>
              <a:buChar char="•"/>
            </a:pPr>
            <a:r>
              <a:rPr lang="en-AU" dirty="0">
                <a:latin typeface="Arial"/>
                <a:cs typeface="Calibri"/>
              </a:rPr>
              <a:t>Communication of Security clearance for provisioning of infrastructure resources.</a:t>
            </a:r>
            <a:endParaRPr lang="en-AU" dirty="0">
              <a:latin typeface="Arial"/>
              <a:ea typeface="Calibri"/>
              <a:cs typeface="Calibri"/>
            </a:endParaRPr>
          </a:p>
        </p:txBody>
      </p:sp>
    </p:spTree>
    <p:extLst>
      <p:ext uri="{BB962C8B-B14F-4D97-AF65-F5344CB8AC3E}">
        <p14:creationId xmlns:p14="http://schemas.microsoft.com/office/powerpoint/2010/main" val="4214821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B1EE6-F61B-9287-B510-D48B15EBCBA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592AC55-7BE8-81B7-8177-D87EF9622DAD}"/>
              </a:ext>
            </a:extLst>
          </p:cNvPr>
          <p:cNvSpPr>
            <a:spLocks noGrp="1"/>
          </p:cNvSpPr>
          <p:nvPr>
            <p:ph type="sldNum" sz="quarter" idx="4294967295"/>
          </p:nvPr>
        </p:nvSpPr>
        <p:spPr>
          <a:xfrm>
            <a:off x="275877" y="6475646"/>
            <a:ext cx="173038" cy="169200"/>
          </a:xfrm>
        </p:spPr>
        <p:txBody>
          <a:bodyPr/>
          <a:lstStyle/>
          <a:p>
            <a:fld id="{E4C2AD82-1025-4508-97C1-6F7EE5C92734}" type="slidenum">
              <a:rPr lang="en-AU" smtClean="0"/>
              <a:pPr/>
              <a:t>15</a:t>
            </a:fld>
            <a:endParaRPr lang="en-AU"/>
          </a:p>
        </p:txBody>
      </p:sp>
      <p:sp>
        <p:nvSpPr>
          <p:cNvPr id="5" name="Title 4">
            <a:extLst>
              <a:ext uri="{FF2B5EF4-FFF2-40B4-BE49-F238E27FC236}">
                <a16:creationId xmlns:a16="http://schemas.microsoft.com/office/drawing/2014/main" id="{9ED1DE00-4D37-0DCE-0976-DEDF42ACE0DC}"/>
              </a:ext>
            </a:extLst>
          </p:cNvPr>
          <p:cNvSpPr>
            <a:spLocks noGrp="1"/>
          </p:cNvSpPr>
          <p:nvPr>
            <p:ph type="title"/>
          </p:nvPr>
        </p:nvSpPr>
        <p:spPr>
          <a:xfrm>
            <a:off x="479425" y="604203"/>
            <a:ext cx="11128767" cy="417887"/>
          </a:xfrm>
        </p:spPr>
        <p:txBody>
          <a:bodyPr/>
          <a:lstStyle/>
          <a:p>
            <a:r>
              <a:rPr lang="en-US"/>
              <a:t>Tenataive Project Timeline - Pilot</a:t>
            </a:r>
            <a:endParaRPr lang="en-SG"/>
          </a:p>
        </p:txBody>
      </p:sp>
      <p:sp>
        <p:nvSpPr>
          <p:cNvPr id="11" name="Content Placeholder 5">
            <a:extLst>
              <a:ext uri="{FF2B5EF4-FFF2-40B4-BE49-F238E27FC236}">
                <a16:creationId xmlns:a16="http://schemas.microsoft.com/office/drawing/2014/main" id="{7A15DA0D-C1CE-DF45-DB76-EE059A3F746D}"/>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Approach &amp; Solution</a:t>
            </a:r>
            <a:endParaRPr lang="en-AU"/>
          </a:p>
        </p:txBody>
      </p:sp>
      <p:grpSp>
        <p:nvGrpSpPr>
          <p:cNvPr id="2" name="Group 1">
            <a:extLst>
              <a:ext uri="{FF2B5EF4-FFF2-40B4-BE49-F238E27FC236}">
                <a16:creationId xmlns:a16="http://schemas.microsoft.com/office/drawing/2014/main" id="{700A6F2A-F5BB-3F65-95BB-E47B7C8C952B}"/>
              </a:ext>
            </a:extLst>
          </p:cNvPr>
          <p:cNvGrpSpPr/>
          <p:nvPr/>
        </p:nvGrpSpPr>
        <p:grpSpPr>
          <a:xfrm>
            <a:off x="2924708" y="1323121"/>
            <a:ext cx="6964008" cy="4211757"/>
            <a:chOff x="693956" y="1475607"/>
            <a:chExt cx="6964008" cy="3709985"/>
          </a:xfrm>
        </p:grpSpPr>
        <p:sp>
          <p:nvSpPr>
            <p:cNvPr id="4" name="Rectangle 3">
              <a:extLst>
                <a:ext uri="{FF2B5EF4-FFF2-40B4-BE49-F238E27FC236}">
                  <a16:creationId xmlns:a16="http://schemas.microsoft.com/office/drawing/2014/main" id="{43544B98-3915-9DE0-91BB-B8F4C59C7CCD}"/>
                </a:ext>
              </a:extLst>
            </p:cNvPr>
            <p:cNvSpPr/>
            <p:nvPr/>
          </p:nvSpPr>
          <p:spPr bwMode="auto">
            <a:xfrm>
              <a:off x="724289" y="1477173"/>
              <a:ext cx="2898412" cy="396471"/>
            </a:xfrm>
            <a:prstGeom prst="rect">
              <a:avLst/>
            </a:prstGeom>
            <a:solidFill>
              <a:srgbClr val="D11234"/>
            </a:solidFill>
            <a:ln w="9525" cap="flat" cmpd="sng" algn="ctr">
              <a:no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53218" fontAlgn="base">
                <a:spcBef>
                  <a:spcPct val="0"/>
                </a:spcBef>
                <a:spcAft>
                  <a:spcPct val="0"/>
                </a:spcAft>
              </a:pPr>
              <a:r>
                <a:rPr lang="en-US" sz="1367" b="1" kern="0" spc="-36">
                  <a:solidFill>
                    <a:srgbClr val="FFFFFF"/>
                  </a:solidFill>
                  <a:ea typeface="Segoe UI" pitchFamily="34" charset="0"/>
                  <a:cs typeface="Segoe UI Semibold" panose="020B0702040204020203" pitchFamily="34" charset="0"/>
                </a:rPr>
                <a:t>MILESTONES </a:t>
              </a:r>
            </a:p>
          </p:txBody>
        </p:sp>
        <p:sp>
          <p:nvSpPr>
            <p:cNvPr id="6" name="Rectangle 5">
              <a:extLst>
                <a:ext uri="{FF2B5EF4-FFF2-40B4-BE49-F238E27FC236}">
                  <a16:creationId xmlns:a16="http://schemas.microsoft.com/office/drawing/2014/main" id="{29FF8359-25A9-0C32-2FE9-8D3DAD32C52A}"/>
                </a:ext>
              </a:extLst>
            </p:cNvPr>
            <p:cNvSpPr/>
            <p:nvPr/>
          </p:nvSpPr>
          <p:spPr bwMode="auto">
            <a:xfrm>
              <a:off x="1000235" y="2326356"/>
              <a:ext cx="25889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defTabSz="8710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rPr>
                <a:t>Project Kick Off &amp; </a:t>
              </a:r>
              <a:r>
                <a:rPr lang="en-US" sz="900" kern="0">
                  <a:solidFill>
                    <a:srgbClr val="000000"/>
                  </a:solidFill>
                </a:rPr>
                <a:t>Discovery</a:t>
              </a:r>
              <a:endParaRPr lang="en-US"/>
            </a:p>
          </p:txBody>
        </p:sp>
        <p:sp>
          <p:nvSpPr>
            <p:cNvPr id="8" name="Oval 7">
              <a:extLst>
                <a:ext uri="{FF2B5EF4-FFF2-40B4-BE49-F238E27FC236}">
                  <a16:creationId xmlns:a16="http://schemas.microsoft.com/office/drawing/2014/main" id="{D94DE882-1D0E-86B4-17D9-7B88BFD235C8}"/>
                </a:ext>
              </a:extLst>
            </p:cNvPr>
            <p:cNvSpPr/>
            <p:nvPr/>
          </p:nvSpPr>
          <p:spPr bwMode="auto">
            <a:xfrm>
              <a:off x="724289" y="2328952"/>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1</a:t>
              </a:r>
            </a:p>
          </p:txBody>
        </p:sp>
        <p:sp>
          <p:nvSpPr>
            <p:cNvPr id="9" name="Rectangle 8">
              <a:extLst>
                <a:ext uri="{FF2B5EF4-FFF2-40B4-BE49-F238E27FC236}">
                  <a16:creationId xmlns:a16="http://schemas.microsoft.com/office/drawing/2014/main" id="{F4A1F6A9-07FE-35A7-E651-7A67FC5E60E0}"/>
                </a:ext>
              </a:extLst>
            </p:cNvPr>
            <p:cNvSpPr/>
            <p:nvPr/>
          </p:nvSpPr>
          <p:spPr bwMode="auto">
            <a:xfrm>
              <a:off x="1001633" y="2703187"/>
              <a:ext cx="25889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1000">
                <a:defRPr/>
              </a:pPr>
              <a:r>
                <a:rPr lang="en-US" sz="900" kern="0" dirty="0">
                  <a:solidFill>
                    <a:srgbClr val="000000"/>
                  </a:solidFill>
                </a:rPr>
                <a:t>Knowledge Base Creation</a:t>
              </a:r>
              <a:endParaRPr lang="en-US" dirty="0"/>
            </a:p>
          </p:txBody>
        </p:sp>
        <p:sp>
          <p:nvSpPr>
            <p:cNvPr id="10" name="Oval 9">
              <a:extLst>
                <a:ext uri="{FF2B5EF4-FFF2-40B4-BE49-F238E27FC236}">
                  <a16:creationId xmlns:a16="http://schemas.microsoft.com/office/drawing/2014/main" id="{B74F757F-F136-A4AD-1CCA-86213D799F07}"/>
                </a:ext>
              </a:extLst>
            </p:cNvPr>
            <p:cNvSpPr/>
            <p:nvPr/>
          </p:nvSpPr>
          <p:spPr bwMode="auto">
            <a:xfrm>
              <a:off x="725687" y="2695086"/>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2</a:t>
              </a:r>
            </a:p>
          </p:txBody>
        </p:sp>
        <p:sp>
          <p:nvSpPr>
            <p:cNvPr id="12" name="Rectangle 11">
              <a:extLst>
                <a:ext uri="{FF2B5EF4-FFF2-40B4-BE49-F238E27FC236}">
                  <a16:creationId xmlns:a16="http://schemas.microsoft.com/office/drawing/2014/main" id="{A14F08E8-5781-C350-EA2B-354003789A02}"/>
                </a:ext>
              </a:extLst>
            </p:cNvPr>
            <p:cNvSpPr/>
            <p:nvPr/>
          </p:nvSpPr>
          <p:spPr bwMode="auto">
            <a:xfrm>
              <a:off x="984145" y="3080018"/>
              <a:ext cx="25980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1000">
                <a:defRPr/>
              </a:pPr>
              <a:r>
                <a:rPr lang="en-US" sz="900" kern="0" dirty="0">
                  <a:solidFill>
                    <a:srgbClr val="000000"/>
                  </a:solidFill>
                </a:rPr>
                <a:t>Frontend Development</a:t>
              </a:r>
            </a:p>
          </p:txBody>
        </p:sp>
        <p:sp>
          <p:nvSpPr>
            <p:cNvPr id="13" name="Oval 12">
              <a:extLst>
                <a:ext uri="{FF2B5EF4-FFF2-40B4-BE49-F238E27FC236}">
                  <a16:creationId xmlns:a16="http://schemas.microsoft.com/office/drawing/2014/main" id="{0462A9A8-896F-744C-BB74-42C3B28AA373}"/>
                </a:ext>
              </a:extLst>
            </p:cNvPr>
            <p:cNvSpPr/>
            <p:nvPr/>
          </p:nvSpPr>
          <p:spPr bwMode="auto">
            <a:xfrm>
              <a:off x="717298" y="3068211"/>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3</a:t>
              </a:r>
            </a:p>
          </p:txBody>
        </p:sp>
        <p:sp>
          <p:nvSpPr>
            <p:cNvPr id="14" name="Rectangle 13">
              <a:extLst>
                <a:ext uri="{FF2B5EF4-FFF2-40B4-BE49-F238E27FC236}">
                  <a16:creationId xmlns:a16="http://schemas.microsoft.com/office/drawing/2014/main" id="{5597AA2B-836B-421A-0CCD-17F9E19AAC72}"/>
                </a:ext>
              </a:extLst>
            </p:cNvPr>
            <p:cNvSpPr/>
            <p:nvPr/>
          </p:nvSpPr>
          <p:spPr bwMode="auto">
            <a:xfrm>
              <a:off x="993245" y="3833680"/>
              <a:ext cx="25889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1000">
                <a:defRPr/>
              </a:pPr>
              <a:r>
                <a:rPr lang="en-US" sz="900" kern="0" dirty="0">
                  <a:solidFill>
                    <a:srgbClr val="000000"/>
                  </a:solidFill>
                </a:rPr>
                <a:t>Functional Testing</a:t>
              </a:r>
            </a:p>
          </p:txBody>
        </p:sp>
        <p:sp>
          <p:nvSpPr>
            <p:cNvPr id="15" name="Oval 14">
              <a:extLst>
                <a:ext uri="{FF2B5EF4-FFF2-40B4-BE49-F238E27FC236}">
                  <a16:creationId xmlns:a16="http://schemas.microsoft.com/office/drawing/2014/main" id="{8CE7F8A0-6374-DAFF-0A4F-CF076247F485}"/>
                </a:ext>
              </a:extLst>
            </p:cNvPr>
            <p:cNvSpPr/>
            <p:nvPr/>
          </p:nvSpPr>
          <p:spPr bwMode="auto">
            <a:xfrm>
              <a:off x="717298" y="3443829"/>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4</a:t>
              </a:r>
            </a:p>
          </p:txBody>
        </p:sp>
        <p:sp>
          <p:nvSpPr>
            <p:cNvPr id="16" name="Rectangle 15">
              <a:extLst>
                <a:ext uri="{FF2B5EF4-FFF2-40B4-BE49-F238E27FC236}">
                  <a16:creationId xmlns:a16="http://schemas.microsoft.com/office/drawing/2014/main" id="{2663F2C5-055E-B815-E64E-1EA4C9083BB6}"/>
                </a:ext>
              </a:extLst>
            </p:cNvPr>
            <p:cNvSpPr/>
            <p:nvPr/>
          </p:nvSpPr>
          <p:spPr bwMode="auto">
            <a:xfrm>
              <a:off x="993244" y="4210511"/>
              <a:ext cx="25889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1000">
                <a:defRPr/>
              </a:pPr>
              <a:r>
                <a:rPr lang="en-US" sz="900" kern="0" dirty="0">
                  <a:solidFill>
                    <a:srgbClr val="000000"/>
                  </a:solidFill>
                </a:rPr>
                <a:t>User Acceptance Test</a:t>
              </a:r>
              <a:endParaRPr lang="en-US" sz="900" kern="0" dirty="0">
                <a:cs typeface="Arial"/>
              </a:endParaRPr>
            </a:p>
          </p:txBody>
        </p:sp>
        <p:sp>
          <p:nvSpPr>
            <p:cNvPr id="17" name="Oval 16">
              <a:extLst>
                <a:ext uri="{FF2B5EF4-FFF2-40B4-BE49-F238E27FC236}">
                  <a16:creationId xmlns:a16="http://schemas.microsoft.com/office/drawing/2014/main" id="{69E04210-6A70-1F5D-60FF-6C221DAA6930}"/>
                </a:ext>
              </a:extLst>
            </p:cNvPr>
            <p:cNvSpPr/>
            <p:nvPr/>
          </p:nvSpPr>
          <p:spPr bwMode="auto">
            <a:xfrm>
              <a:off x="717298" y="3815216"/>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5</a:t>
              </a:r>
            </a:p>
          </p:txBody>
        </p:sp>
        <p:sp>
          <p:nvSpPr>
            <p:cNvPr id="18" name="Oval 17">
              <a:extLst>
                <a:ext uri="{FF2B5EF4-FFF2-40B4-BE49-F238E27FC236}">
                  <a16:creationId xmlns:a16="http://schemas.microsoft.com/office/drawing/2014/main" id="{DAE8E46F-EEBB-BA25-7DB3-5C43A8C8DE4E}"/>
                </a:ext>
              </a:extLst>
            </p:cNvPr>
            <p:cNvSpPr/>
            <p:nvPr/>
          </p:nvSpPr>
          <p:spPr bwMode="auto">
            <a:xfrm>
              <a:off x="708909" y="4188341"/>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6</a:t>
              </a:r>
            </a:p>
          </p:txBody>
        </p:sp>
        <p:sp>
          <p:nvSpPr>
            <p:cNvPr id="19" name="Rectangle 18">
              <a:extLst>
                <a:ext uri="{FF2B5EF4-FFF2-40B4-BE49-F238E27FC236}">
                  <a16:creationId xmlns:a16="http://schemas.microsoft.com/office/drawing/2014/main" id="{2337154A-F7A6-46E9-6633-4C41CBFF6BD1}"/>
                </a:ext>
              </a:extLst>
            </p:cNvPr>
            <p:cNvSpPr/>
            <p:nvPr/>
          </p:nvSpPr>
          <p:spPr bwMode="auto">
            <a:xfrm>
              <a:off x="990241" y="3456849"/>
              <a:ext cx="25980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1000">
                <a:defRPr/>
              </a:pPr>
              <a:r>
                <a:rPr lang="en-US" sz="900" kern="0" dirty="0">
                  <a:solidFill>
                    <a:srgbClr val="000000"/>
                  </a:solidFill>
                </a:rPr>
                <a:t>RAG Workflow</a:t>
              </a:r>
              <a:endParaRPr lang="en-US" sz="900" kern="0" dirty="0">
                <a:cs typeface="Arial"/>
              </a:endParaRPr>
            </a:p>
          </p:txBody>
        </p:sp>
        <p:sp>
          <p:nvSpPr>
            <p:cNvPr id="20" name="Rectangle 19">
              <a:extLst>
                <a:ext uri="{FF2B5EF4-FFF2-40B4-BE49-F238E27FC236}">
                  <a16:creationId xmlns:a16="http://schemas.microsoft.com/office/drawing/2014/main" id="{7190D9CF-EFAE-F1C3-09DA-7CCE39A1F035}"/>
                </a:ext>
              </a:extLst>
            </p:cNvPr>
            <p:cNvSpPr/>
            <p:nvPr/>
          </p:nvSpPr>
          <p:spPr bwMode="auto">
            <a:xfrm>
              <a:off x="981107" y="4587344"/>
              <a:ext cx="2588946" cy="222212"/>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71000">
                <a:defRPr/>
              </a:pPr>
              <a:endParaRPr lang="en-US" sz="900" kern="0" dirty="0">
                <a:solidFill>
                  <a:srgbClr val="000000"/>
                </a:solidFill>
              </a:endParaRPr>
            </a:p>
            <a:p>
              <a:pPr defTabSz="871000">
                <a:defRPr/>
              </a:pPr>
              <a:r>
                <a:rPr lang="en-US" sz="900" kern="0" dirty="0">
                  <a:solidFill>
                    <a:srgbClr val="000000"/>
                  </a:solidFill>
                </a:rPr>
                <a:t>Production Deployment</a:t>
              </a:r>
            </a:p>
            <a:p>
              <a:pPr defTabSz="871000">
                <a:defRPr/>
              </a:pPr>
              <a:endParaRPr lang="en-US" sz="900" b="0" i="0" u="none" strike="noStrike" kern="0" cap="none" spc="0" normalizeH="0" baseline="0" noProof="0" dirty="0">
                <a:ln>
                  <a:noFill/>
                </a:ln>
                <a:solidFill>
                  <a:srgbClr val="000000"/>
                </a:solidFill>
                <a:effectLst/>
                <a:uLnTx/>
                <a:uFillTx/>
                <a:cs typeface="Arial"/>
              </a:endParaRPr>
            </a:p>
          </p:txBody>
        </p:sp>
        <p:sp>
          <p:nvSpPr>
            <p:cNvPr id="21" name="Oval 20">
              <a:extLst>
                <a:ext uri="{FF2B5EF4-FFF2-40B4-BE49-F238E27FC236}">
                  <a16:creationId xmlns:a16="http://schemas.microsoft.com/office/drawing/2014/main" id="{9F3310D6-49EA-830F-9090-D0284CD15FD7}"/>
                </a:ext>
              </a:extLst>
            </p:cNvPr>
            <p:cNvSpPr/>
            <p:nvPr/>
          </p:nvSpPr>
          <p:spPr bwMode="auto">
            <a:xfrm>
              <a:off x="693956" y="4584359"/>
              <a:ext cx="216255" cy="222212"/>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7</a:t>
              </a:r>
            </a:p>
          </p:txBody>
        </p:sp>
        <p:grpSp>
          <p:nvGrpSpPr>
            <p:cNvPr id="22" name="Group 21">
              <a:extLst>
                <a:ext uri="{FF2B5EF4-FFF2-40B4-BE49-F238E27FC236}">
                  <a16:creationId xmlns:a16="http://schemas.microsoft.com/office/drawing/2014/main" id="{02432644-7B2E-033A-54CA-50FAFCDC32D3}"/>
                </a:ext>
              </a:extLst>
            </p:cNvPr>
            <p:cNvGrpSpPr/>
            <p:nvPr/>
          </p:nvGrpSpPr>
          <p:grpSpPr>
            <a:xfrm>
              <a:off x="3700912" y="1475607"/>
              <a:ext cx="3957052" cy="3709985"/>
              <a:chOff x="3700913" y="1475607"/>
              <a:chExt cx="1848364" cy="3709985"/>
            </a:xfrm>
          </p:grpSpPr>
          <p:sp>
            <p:nvSpPr>
              <p:cNvPr id="23" name="Rectangle 22">
                <a:extLst>
                  <a:ext uri="{FF2B5EF4-FFF2-40B4-BE49-F238E27FC236}">
                    <a16:creationId xmlns:a16="http://schemas.microsoft.com/office/drawing/2014/main" id="{B86060CA-E479-07B5-5604-BCAFFB099133}"/>
                  </a:ext>
                </a:extLst>
              </p:cNvPr>
              <p:cNvSpPr/>
              <p:nvPr/>
            </p:nvSpPr>
            <p:spPr bwMode="auto">
              <a:xfrm>
                <a:off x="3763379" y="1475607"/>
                <a:ext cx="1785898" cy="409622"/>
              </a:xfrm>
              <a:prstGeom prst="rect">
                <a:avLst/>
              </a:prstGeom>
              <a:solidFill>
                <a:srgbClr val="D11234"/>
              </a:solidFill>
              <a:ln w="9525" cap="flat" cmpd="sng" algn="ctr">
                <a:no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53218" fontAlgn="base">
                  <a:spcBef>
                    <a:spcPct val="0"/>
                  </a:spcBef>
                  <a:spcAft>
                    <a:spcPct val="0"/>
                  </a:spcAft>
                </a:pPr>
                <a:r>
                  <a:rPr lang="en-US" sz="1367" b="1" kern="0" spc="-36">
                    <a:solidFill>
                      <a:srgbClr val="FFFFFF"/>
                    </a:solidFill>
                    <a:ea typeface="Segoe UI" pitchFamily="34" charset="0"/>
                    <a:cs typeface="Segoe UI Semibold" panose="020B0702040204020203" pitchFamily="34" charset="0"/>
                  </a:rPr>
                  <a:t>TIMELINE</a:t>
                </a:r>
              </a:p>
            </p:txBody>
          </p:sp>
          <p:grpSp>
            <p:nvGrpSpPr>
              <p:cNvPr id="24" name="Group 23">
                <a:extLst>
                  <a:ext uri="{FF2B5EF4-FFF2-40B4-BE49-F238E27FC236}">
                    <a16:creationId xmlns:a16="http://schemas.microsoft.com/office/drawing/2014/main" id="{52BC9C8C-C572-75F0-B3BE-6590605CB0DB}"/>
                  </a:ext>
                </a:extLst>
              </p:cNvPr>
              <p:cNvGrpSpPr/>
              <p:nvPr/>
            </p:nvGrpSpPr>
            <p:grpSpPr>
              <a:xfrm>
                <a:off x="3700913" y="1923929"/>
                <a:ext cx="1783355" cy="3261663"/>
                <a:chOff x="3700913" y="1923929"/>
                <a:chExt cx="1783355" cy="3261663"/>
              </a:xfrm>
            </p:grpSpPr>
            <p:sp>
              <p:nvSpPr>
                <p:cNvPr id="25" name="Rectangle 24">
                  <a:extLst>
                    <a:ext uri="{FF2B5EF4-FFF2-40B4-BE49-F238E27FC236}">
                      <a16:creationId xmlns:a16="http://schemas.microsoft.com/office/drawing/2014/main" id="{05882897-53A8-4195-BFB0-0BA4906DE361}"/>
                    </a:ext>
                  </a:extLst>
                </p:cNvPr>
                <p:cNvSpPr/>
                <p:nvPr/>
              </p:nvSpPr>
              <p:spPr bwMode="auto">
                <a:xfrm>
                  <a:off x="3700913" y="2193664"/>
                  <a:ext cx="477409" cy="29919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F160544F-4550-A488-5349-F88234C90038}"/>
                    </a:ext>
                  </a:extLst>
                </p:cNvPr>
                <p:cNvSpPr/>
                <p:nvPr/>
              </p:nvSpPr>
              <p:spPr bwMode="auto">
                <a:xfrm>
                  <a:off x="4618485" y="2189230"/>
                  <a:ext cx="477409" cy="299635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5E86DE9C-18DB-15E4-10B0-F1509F2D74EC}"/>
                    </a:ext>
                  </a:extLst>
                </p:cNvPr>
                <p:cNvCxnSpPr>
                  <a:cxnSpLocks/>
                </p:cNvCxnSpPr>
                <p:nvPr/>
              </p:nvCxnSpPr>
              <p:spPr>
                <a:xfrm>
                  <a:off x="3741996" y="2005507"/>
                  <a:ext cx="1722434" cy="0"/>
                </a:xfrm>
                <a:prstGeom prst="line">
                  <a:avLst/>
                </a:prstGeom>
                <a:noFill/>
                <a:ln w="15875" cap="flat" cmpd="sng" algn="ctr">
                  <a:solidFill>
                    <a:srgbClr val="FFFFFF">
                      <a:lumMod val="50000"/>
                    </a:srgbClr>
                  </a:solidFill>
                  <a:prstDash val="solid"/>
                </a:ln>
                <a:effectLst/>
              </p:spPr>
            </p:cxnSp>
            <p:sp>
              <p:nvSpPr>
                <p:cNvPr id="30" name="Textfeld 178">
                  <a:extLst>
                    <a:ext uri="{FF2B5EF4-FFF2-40B4-BE49-F238E27FC236}">
                      <a16:creationId xmlns:a16="http://schemas.microsoft.com/office/drawing/2014/main" id="{2C3143E6-73CF-3E2C-3DB3-B07608E27176}"/>
                    </a:ext>
                  </a:extLst>
                </p:cNvPr>
                <p:cNvSpPr txBox="1"/>
                <p:nvPr/>
              </p:nvSpPr>
              <p:spPr>
                <a:xfrm>
                  <a:off x="4340085" y="1923929"/>
                  <a:ext cx="434206" cy="139174"/>
                </a:xfrm>
                <a:prstGeom prst="rect">
                  <a:avLst/>
                </a:prstGeom>
                <a:solidFill>
                  <a:srgbClr val="FFFFFF"/>
                </a:solid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400">
                    <a:defRPr/>
                  </a:pPr>
                  <a:r>
                    <a:rPr lang="en-US" sz="800" b="1" kern="0">
                      <a:solidFill>
                        <a:srgbClr val="000000">
                          <a:lumMod val="75000"/>
                          <a:lumOff val="25000"/>
                        </a:srgbClr>
                      </a:solidFill>
                      <a:cs typeface="Segoe UI Semibold" panose="020B0702040204020203" pitchFamily="34" charset="0"/>
                    </a:rPr>
                    <a:t>Month1</a:t>
                  </a:r>
                </a:p>
              </p:txBody>
            </p:sp>
            <p:sp>
              <p:nvSpPr>
                <p:cNvPr id="33" name="Arrow: Right 32">
                  <a:extLst>
                    <a:ext uri="{FF2B5EF4-FFF2-40B4-BE49-F238E27FC236}">
                      <a16:creationId xmlns:a16="http://schemas.microsoft.com/office/drawing/2014/main" id="{ABDACCC3-D1F7-AE41-7B3A-B6A83D022FB4}"/>
                    </a:ext>
                  </a:extLst>
                </p:cNvPr>
                <p:cNvSpPr/>
                <p:nvPr/>
              </p:nvSpPr>
              <p:spPr>
                <a:xfrm>
                  <a:off x="3700913" y="2352862"/>
                  <a:ext cx="229783" cy="16002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4" name="Arrow: Right 33">
                  <a:extLst>
                    <a:ext uri="{FF2B5EF4-FFF2-40B4-BE49-F238E27FC236}">
                      <a16:creationId xmlns:a16="http://schemas.microsoft.com/office/drawing/2014/main" id="{333274DB-18CA-4430-24E8-8743ADBAAEC7}"/>
                    </a:ext>
                  </a:extLst>
                </p:cNvPr>
                <p:cNvSpPr/>
                <p:nvPr/>
              </p:nvSpPr>
              <p:spPr>
                <a:xfrm>
                  <a:off x="3886953" y="2719969"/>
                  <a:ext cx="291369" cy="16002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40" name="Group 39">
                  <a:extLst>
                    <a:ext uri="{FF2B5EF4-FFF2-40B4-BE49-F238E27FC236}">
                      <a16:creationId xmlns:a16="http://schemas.microsoft.com/office/drawing/2014/main" id="{47B8B556-A97F-0B45-03DC-EB6D61ECC950}"/>
                    </a:ext>
                  </a:extLst>
                </p:cNvPr>
                <p:cNvGrpSpPr/>
                <p:nvPr/>
              </p:nvGrpSpPr>
              <p:grpSpPr>
                <a:xfrm>
                  <a:off x="3756546" y="2024364"/>
                  <a:ext cx="1727722" cy="123111"/>
                  <a:chOff x="3756546" y="2024364"/>
                  <a:chExt cx="1727722" cy="123111"/>
                </a:xfrm>
              </p:grpSpPr>
              <p:sp>
                <p:nvSpPr>
                  <p:cNvPr id="41" name="TextBox 18">
                    <a:extLst>
                      <a:ext uri="{FF2B5EF4-FFF2-40B4-BE49-F238E27FC236}">
                        <a16:creationId xmlns:a16="http://schemas.microsoft.com/office/drawing/2014/main" id="{4BE4F7A3-66D2-7BE5-FD15-4F2213B28DF9}"/>
                      </a:ext>
                    </a:extLst>
                  </p:cNvPr>
                  <p:cNvSpPr txBox="1"/>
                  <p:nvPr/>
                </p:nvSpPr>
                <p:spPr>
                  <a:xfrm>
                    <a:off x="3756546" y="2024364"/>
                    <a:ext cx="333673" cy="123111"/>
                  </a:xfrm>
                  <a:prstGeom prst="rect">
                    <a:avLst/>
                  </a:prstGeom>
                  <a:noFill/>
                </p:spPr>
                <p:txBody>
                  <a:bodyPr wrap="square" lIns="0" tIns="0" rIns="0" bIns="0" rtlCol="0"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a:cs typeface="Segoe UI Semibold"/>
                      </a:rPr>
                      <a:t>  W1</a:t>
                    </a:r>
                  </a:p>
                </p:txBody>
              </p:sp>
              <p:sp>
                <p:nvSpPr>
                  <p:cNvPr id="42" name="TextBox 18">
                    <a:extLst>
                      <a:ext uri="{FF2B5EF4-FFF2-40B4-BE49-F238E27FC236}">
                        <a16:creationId xmlns:a16="http://schemas.microsoft.com/office/drawing/2014/main" id="{B758FEB0-07F3-22B2-0DF1-5C08C2AE2FEF}"/>
                      </a:ext>
                    </a:extLst>
                  </p:cNvPr>
                  <p:cNvSpPr txBox="1"/>
                  <p:nvPr/>
                </p:nvSpPr>
                <p:spPr>
                  <a:xfrm>
                    <a:off x="4221229" y="2024364"/>
                    <a:ext cx="333673" cy="123111"/>
                  </a:xfrm>
                  <a:prstGeom prst="rect">
                    <a:avLst/>
                  </a:prstGeom>
                  <a:noFill/>
                </p:spPr>
                <p:txBody>
                  <a:bodyPr wrap="square" lIns="0" tIns="0" rIns="0" bIns="0" rtlCol="0"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a:cs typeface="Segoe UI Semibold"/>
                      </a:rPr>
                      <a:t>  W2</a:t>
                    </a:r>
                  </a:p>
                </p:txBody>
              </p:sp>
              <p:sp>
                <p:nvSpPr>
                  <p:cNvPr id="43" name="TextBox 18">
                    <a:extLst>
                      <a:ext uri="{FF2B5EF4-FFF2-40B4-BE49-F238E27FC236}">
                        <a16:creationId xmlns:a16="http://schemas.microsoft.com/office/drawing/2014/main" id="{572DFB40-8EA5-1217-1153-E9F7A31938CD}"/>
                      </a:ext>
                    </a:extLst>
                  </p:cNvPr>
                  <p:cNvSpPr txBox="1"/>
                  <p:nvPr/>
                </p:nvSpPr>
                <p:spPr>
                  <a:xfrm>
                    <a:off x="4685912" y="2024364"/>
                    <a:ext cx="333673" cy="123111"/>
                  </a:xfrm>
                  <a:prstGeom prst="rect">
                    <a:avLst/>
                  </a:prstGeom>
                  <a:noFill/>
                </p:spPr>
                <p:txBody>
                  <a:bodyPr wrap="square" lIns="0" tIns="0" rIns="0" bIns="0" rtlCol="0"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a:cs typeface="Segoe UI Semibold"/>
                      </a:rPr>
                      <a:t>  W3</a:t>
                    </a:r>
                  </a:p>
                </p:txBody>
              </p:sp>
              <p:sp>
                <p:nvSpPr>
                  <p:cNvPr id="44" name="TextBox 18">
                    <a:extLst>
                      <a:ext uri="{FF2B5EF4-FFF2-40B4-BE49-F238E27FC236}">
                        <a16:creationId xmlns:a16="http://schemas.microsoft.com/office/drawing/2014/main" id="{59C52093-85D0-AA49-4A73-97E0E8F31EE3}"/>
                      </a:ext>
                    </a:extLst>
                  </p:cNvPr>
                  <p:cNvSpPr txBox="1"/>
                  <p:nvPr/>
                </p:nvSpPr>
                <p:spPr>
                  <a:xfrm>
                    <a:off x="5150595" y="2024364"/>
                    <a:ext cx="333673" cy="123111"/>
                  </a:xfrm>
                  <a:prstGeom prst="rect">
                    <a:avLst/>
                  </a:prstGeom>
                  <a:noFill/>
                </p:spPr>
                <p:txBody>
                  <a:bodyPr wrap="square" lIns="0" tIns="0" rIns="0" bIns="0" rtlCol="0"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a:cs typeface="Segoe UI Semibold"/>
                      </a:rPr>
                      <a:t>  W4</a:t>
                    </a:r>
                  </a:p>
                </p:txBody>
              </p:sp>
            </p:grpSp>
          </p:grpSp>
        </p:grpSp>
      </p:grpSp>
      <p:sp>
        <p:nvSpPr>
          <p:cNvPr id="49" name="Rectangle 48">
            <a:extLst>
              <a:ext uri="{FF2B5EF4-FFF2-40B4-BE49-F238E27FC236}">
                <a16:creationId xmlns:a16="http://schemas.microsoft.com/office/drawing/2014/main" id="{E1D4A35E-2F12-B0BA-E772-5F72DF78B126}"/>
              </a:ext>
            </a:extLst>
          </p:cNvPr>
          <p:cNvSpPr/>
          <p:nvPr/>
        </p:nvSpPr>
        <p:spPr bwMode="auto">
          <a:xfrm>
            <a:off x="3202464" y="5279516"/>
            <a:ext cx="2588946" cy="252266"/>
          </a:xfrm>
          <a:prstGeom prst="rect">
            <a:avLst/>
          </a:prstGeom>
          <a:solidFill>
            <a:srgbClr val="FFFFFF">
              <a:lumMod val="95000"/>
            </a:srgbClr>
          </a:solidFill>
          <a:ln w="9525" cap="flat" cmpd="sng" algn="ctr">
            <a:solidFill>
              <a:srgbClr val="FFFFFF">
                <a:lumMod val="75000"/>
              </a:srgbClr>
            </a:solidFill>
            <a:prstDash val="solid"/>
            <a:headEnd type="none" w="med" len="med"/>
            <a:tailEnd type="none" w="med" len="med"/>
          </a:ln>
          <a:effectLst/>
        </p:spPr>
        <p:txBody>
          <a:bodyPr rot="0" spcFirstLastPara="0" vert="horz" wrap="square" lIns="65341" tIns="0" rIns="32671"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defTabSz="8710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lumMod val="75000"/>
                    <a:lumOff val="25000"/>
                  </a:srgbClr>
                </a:solidFill>
                <a:effectLst/>
                <a:uLnTx/>
                <a:uFillTx/>
              </a:rPr>
              <a:t>Sign-off &amp; Warranty</a:t>
            </a:r>
          </a:p>
        </p:txBody>
      </p:sp>
      <p:sp>
        <p:nvSpPr>
          <p:cNvPr id="51" name="Oval 50">
            <a:extLst>
              <a:ext uri="{FF2B5EF4-FFF2-40B4-BE49-F238E27FC236}">
                <a16:creationId xmlns:a16="http://schemas.microsoft.com/office/drawing/2014/main" id="{AFFB883E-3617-F825-C6B1-B7659AD9B107}"/>
              </a:ext>
            </a:extLst>
          </p:cNvPr>
          <p:cNvSpPr/>
          <p:nvPr/>
        </p:nvSpPr>
        <p:spPr bwMode="auto">
          <a:xfrm>
            <a:off x="2915313" y="5276127"/>
            <a:ext cx="216255" cy="252266"/>
          </a:xfrm>
          <a:prstGeom prst="ellipse">
            <a:avLst/>
          </a:prstGeom>
          <a:solidFill>
            <a:srgbClr val="D11234"/>
          </a:solidFill>
          <a:ln w="9525" cap="flat" cmpd="sng" algn="ctr">
            <a:solidFill>
              <a:srgbClr val="D21034"/>
            </a:solid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r>
              <a:rPr lang="en-US" sz="1200" kern="0" spc="-50">
                <a:solidFill>
                  <a:srgbClr val="FFFFFF"/>
                </a:solidFill>
                <a:ea typeface="Segoe UI" pitchFamily="34" charset="0"/>
                <a:cs typeface="Segoe UI Semibold" panose="020B0702040204020203" pitchFamily="34" charset="0"/>
              </a:rPr>
              <a:t>8</a:t>
            </a:r>
          </a:p>
        </p:txBody>
      </p:sp>
      <p:sp>
        <p:nvSpPr>
          <p:cNvPr id="58" name="Arrow: Right 57">
            <a:extLst>
              <a:ext uri="{FF2B5EF4-FFF2-40B4-BE49-F238E27FC236}">
                <a16:creationId xmlns:a16="http://schemas.microsoft.com/office/drawing/2014/main" id="{856E8DF1-B204-731E-113B-CC1B7C56D881}"/>
              </a:ext>
            </a:extLst>
          </p:cNvPr>
          <p:cNvSpPr/>
          <p:nvPr/>
        </p:nvSpPr>
        <p:spPr>
          <a:xfrm>
            <a:off x="6423594" y="3162956"/>
            <a:ext cx="1806002" cy="2338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 name="Arrow: Right 57">
            <a:extLst>
              <a:ext uri="{FF2B5EF4-FFF2-40B4-BE49-F238E27FC236}">
                <a16:creationId xmlns:a16="http://schemas.microsoft.com/office/drawing/2014/main" id="{10B5A1C1-F185-B40B-354D-209602DDADA7}"/>
              </a:ext>
            </a:extLst>
          </p:cNvPr>
          <p:cNvSpPr/>
          <p:nvPr/>
        </p:nvSpPr>
        <p:spPr>
          <a:xfrm>
            <a:off x="6425935" y="3632266"/>
            <a:ext cx="1806002" cy="2338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0" name="Arrow: Right 57">
            <a:extLst>
              <a:ext uri="{FF2B5EF4-FFF2-40B4-BE49-F238E27FC236}">
                <a16:creationId xmlns:a16="http://schemas.microsoft.com/office/drawing/2014/main" id="{C4D05E8D-7942-BCAB-5A48-C4685F8F69C2}"/>
              </a:ext>
            </a:extLst>
          </p:cNvPr>
          <p:cNvSpPr/>
          <p:nvPr/>
        </p:nvSpPr>
        <p:spPr>
          <a:xfrm>
            <a:off x="7908089" y="4024056"/>
            <a:ext cx="566608" cy="19934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6" name="Arrow: Right 57">
            <a:extLst>
              <a:ext uri="{FF2B5EF4-FFF2-40B4-BE49-F238E27FC236}">
                <a16:creationId xmlns:a16="http://schemas.microsoft.com/office/drawing/2014/main" id="{D1D3DCB1-44B1-4F7F-030A-6C57E1CC42E8}"/>
              </a:ext>
            </a:extLst>
          </p:cNvPr>
          <p:cNvSpPr/>
          <p:nvPr/>
        </p:nvSpPr>
        <p:spPr>
          <a:xfrm>
            <a:off x="8474697" y="4431974"/>
            <a:ext cx="443400" cy="19934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0" name="Arrow: Right 57">
            <a:extLst>
              <a:ext uri="{FF2B5EF4-FFF2-40B4-BE49-F238E27FC236}">
                <a16:creationId xmlns:a16="http://schemas.microsoft.com/office/drawing/2014/main" id="{E4FD193A-A829-F4DA-9C5B-F6F5C35F0BBE}"/>
              </a:ext>
            </a:extLst>
          </p:cNvPr>
          <p:cNvSpPr/>
          <p:nvPr/>
        </p:nvSpPr>
        <p:spPr>
          <a:xfrm>
            <a:off x="8918097" y="4839893"/>
            <a:ext cx="443400" cy="19934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1" name="Arrow: Right 57">
            <a:extLst>
              <a:ext uri="{FF2B5EF4-FFF2-40B4-BE49-F238E27FC236}">
                <a16:creationId xmlns:a16="http://schemas.microsoft.com/office/drawing/2014/main" id="{32ABE6AA-21A3-60EE-5CF5-136637A2FC11}"/>
              </a:ext>
            </a:extLst>
          </p:cNvPr>
          <p:cNvSpPr/>
          <p:nvPr/>
        </p:nvSpPr>
        <p:spPr>
          <a:xfrm>
            <a:off x="9277682" y="5335526"/>
            <a:ext cx="443400" cy="19934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1551537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73578-5526-8F30-038F-CAAF1437012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74ED05B-4E34-5798-1D42-910D38A27585}"/>
              </a:ext>
            </a:extLst>
          </p:cNvPr>
          <p:cNvSpPr>
            <a:spLocks noGrp="1"/>
          </p:cNvSpPr>
          <p:nvPr>
            <p:ph type="title"/>
          </p:nvPr>
        </p:nvSpPr>
        <p:spPr/>
        <p:txBody>
          <a:bodyPr/>
          <a:lstStyle/>
          <a:p>
            <a:r>
              <a:rPr lang="en-SG"/>
              <a:t>Project Team Structure</a:t>
            </a:r>
          </a:p>
        </p:txBody>
      </p:sp>
      <p:sp>
        <p:nvSpPr>
          <p:cNvPr id="11" name="Content Placeholder 5">
            <a:extLst>
              <a:ext uri="{FF2B5EF4-FFF2-40B4-BE49-F238E27FC236}">
                <a16:creationId xmlns:a16="http://schemas.microsoft.com/office/drawing/2014/main" id="{33C37E1C-8EA4-E66C-8631-5AE787FCA4CD}"/>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Approach &amp; Solution</a:t>
            </a:r>
            <a:endParaRPr lang="en-AU"/>
          </a:p>
        </p:txBody>
      </p:sp>
      <p:grpSp>
        <p:nvGrpSpPr>
          <p:cNvPr id="7" name="Group 6">
            <a:extLst>
              <a:ext uri="{FF2B5EF4-FFF2-40B4-BE49-F238E27FC236}">
                <a16:creationId xmlns:a16="http://schemas.microsoft.com/office/drawing/2014/main" id="{D1220F72-2C21-25C4-2593-7AB3B6DE11EE}"/>
              </a:ext>
            </a:extLst>
          </p:cNvPr>
          <p:cNvGrpSpPr/>
          <p:nvPr/>
        </p:nvGrpSpPr>
        <p:grpSpPr>
          <a:xfrm>
            <a:off x="300079" y="1242096"/>
            <a:ext cx="11591841" cy="5422612"/>
            <a:chOff x="300079" y="1242096"/>
            <a:chExt cx="11591841" cy="5422612"/>
          </a:xfrm>
        </p:grpSpPr>
        <p:sp>
          <p:nvSpPr>
            <p:cNvPr id="49" name="Rectangle 48">
              <a:extLst>
                <a:ext uri="{FF2B5EF4-FFF2-40B4-BE49-F238E27FC236}">
                  <a16:creationId xmlns:a16="http://schemas.microsoft.com/office/drawing/2014/main" id="{541DC741-2E3A-3EDF-346B-0E6D4D71F4E2}"/>
                </a:ext>
              </a:extLst>
            </p:cNvPr>
            <p:cNvSpPr/>
            <p:nvPr/>
          </p:nvSpPr>
          <p:spPr>
            <a:xfrm>
              <a:off x="300079" y="1373473"/>
              <a:ext cx="11590008" cy="4776017"/>
            </a:xfrm>
            <a:prstGeom prst="rect">
              <a:avLst/>
            </a:prstGeom>
            <a:noFill/>
            <a:ln w="6350" cap="flat" cmpd="sng" algn="ctr">
              <a:solidFill>
                <a:srgbClr val="002060"/>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Montserrat"/>
                <a:ea typeface="+mn-ea"/>
                <a:cs typeface="+mn-cs"/>
              </a:endParaRPr>
            </a:p>
          </p:txBody>
        </p:sp>
        <p:sp>
          <p:nvSpPr>
            <p:cNvPr id="50" name="Round Same Side Corner Rectangle 20">
              <a:extLst>
                <a:ext uri="{FF2B5EF4-FFF2-40B4-BE49-F238E27FC236}">
                  <a16:creationId xmlns:a16="http://schemas.microsoft.com/office/drawing/2014/main" id="{4C9FE3BF-74A5-19E2-FDA7-728C05ADF379}"/>
                </a:ext>
              </a:extLst>
            </p:cNvPr>
            <p:cNvSpPr/>
            <p:nvPr/>
          </p:nvSpPr>
          <p:spPr>
            <a:xfrm>
              <a:off x="301912" y="1242096"/>
              <a:ext cx="11590008" cy="318936"/>
            </a:xfrm>
            <a:prstGeom prst="round2SameRect">
              <a:avLst>
                <a:gd name="adj1" fmla="val 37302"/>
                <a:gd name="adj2" fmla="val 0"/>
              </a:avLst>
            </a:prstGeom>
            <a:solidFill>
              <a:srgbClr val="006496">
                <a:lumMod val="40000"/>
                <a:lumOff val="60000"/>
              </a:srgbClr>
            </a:solidFill>
            <a:ln w="12700" cap="flat" cmpd="sng" algn="ctr">
              <a:noFill/>
              <a:prstDash val="solid"/>
              <a:miter lim="800000"/>
            </a:ln>
            <a:effectLst/>
          </p:spPr>
          <p:txBody>
            <a:bodyPr tIns="0"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Montserrat"/>
                  <a:ea typeface="+mn-ea"/>
                  <a:cs typeface="Arial" panose="020B0604020202020204" pitchFamily="34" charset="0"/>
                </a:rPr>
                <a:t>Project Team</a:t>
              </a:r>
            </a:p>
          </p:txBody>
        </p:sp>
        <p:sp>
          <p:nvSpPr>
            <p:cNvPr id="51" name="Rectangle: Rounded Corners 50">
              <a:extLst>
                <a:ext uri="{FF2B5EF4-FFF2-40B4-BE49-F238E27FC236}">
                  <a16:creationId xmlns:a16="http://schemas.microsoft.com/office/drawing/2014/main" id="{D0966AFA-9421-6119-C542-32C5E32B4A92}"/>
                </a:ext>
              </a:extLst>
            </p:cNvPr>
            <p:cNvSpPr/>
            <p:nvPr/>
          </p:nvSpPr>
          <p:spPr>
            <a:xfrm>
              <a:off x="7162809" y="6309333"/>
              <a:ext cx="1547246" cy="355375"/>
            </a:xfrm>
            <a:prstGeom prst="roundRect">
              <a:avLst>
                <a:gd name="adj" fmla="val 50000"/>
              </a:avLst>
            </a:prstGeom>
            <a:solidFill>
              <a:srgbClr val="006496">
                <a:lumMod val="20000"/>
                <a:lumOff val="80000"/>
              </a:srgbClr>
            </a:solidFill>
            <a:ln w="12700" cap="flat" cmpd="sng" algn="ctr">
              <a:noFill/>
              <a:prstDash val="solid"/>
              <a:miter lim="800000"/>
            </a:ln>
            <a:effectLst/>
          </p:spPr>
          <p:txBody>
            <a:bodyPr lIns="182880"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3C3C3C"/>
                  </a:solidFill>
                  <a:effectLst/>
                  <a:uLnTx/>
                  <a:uFillTx/>
                  <a:latin typeface="Montserrat"/>
                  <a:ea typeface="+mn-ea"/>
                  <a:cs typeface="Arial" panose="020B0604020202020204" pitchFamily="34" charset="0"/>
                </a:rPr>
                <a:t>SoftwareONE</a:t>
              </a:r>
            </a:p>
          </p:txBody>
        </p:sp>
        <p:sp>
          <p:nvSpPr>
            <p:cNvPr id="52" name="Rectangle: Rounded Corners 51">
              <a:extLst>
                <a:ext uri="{FF2B5EF4-FFF2-40B4-BE49-F238E27FC236}">
                  <a16:creationId xmlns:a16="http://schemas.microsoft.com/office/drawing/2014/main" id="{3FEBD8D6-BB8E-6233-837A-D2A4B57DB746}"/>
                </a:ext>
              </a:extLst>
            </p:cNvPr>
            <p:cNvSpPr/>
            <p:nvPr/>
          </p:nvSpPr>
          <p:spPr>
            <a:xfrm>
              <a:off x="8866530" y="6301246"/>
              <a:ext cx="1547246" cy="355375"/>
            </a:xfrm>
            <a:prstGeom prst="roundRect">
              <a:avLst>
                <a:gd name="adj" fmla="val 50000"/>
              </a:avLst>
            </a:prstGeom>
            <a:solidFill>
              <a:srgbClr val="006496">
                <a:lumMod val="75000"/>
              </a:srgbClr>
            </a:solidFill>
            <a:ln w="12700" cap="flat" cmpd="sng" algn="ctr">
              <a:noFill/>
              <a:prstDash val="solid"/>
              <a:miter lim="800000"/>
            </a:ln>
            <a:effectLst/>
          </p:spPr>
          <p:txBody>
            <a:bodyPr lIns="182880" tIns="45720" rIns="91440" bIns="45720" rtlCol="0" anchor="ctr"/>
            <a:lstStyle/>
            <a:p>
              <a:pPr algn="ctr" defTabSz="914363">
                <a:defRPr/>
              </a:pPr>
              <a:r>
                <a:rPr lang="en-US" sz="1050" b="1" kern="0" dirty="0" err="1">
                  <a:solidFill>
                    <a:srgbClr val="FFFFFF"/>
                  </a:solidFill>
                  <a:latin typeface="Montserrat"/>
                  <a:cs typeface="Arial"/>
                </a:rPr>
                <a:t>Furama</a:t>
              </a:r>
              <a:endParaRPr kumimoji="0" lang="en-US" sz="1050" b="1" i="0" u="none" strike="noStrike" kern="0" cap="none" spc="0" normalizeH="0" baseline="0" noProof="0" dirty="0">
                <a:ln>
                  <a:noFill/>
                </a:ln>
                <a:solidFill>
                  <a:srgbClr val="FFFFFF">
                    <a:lumMod val="95000"/>
                  </a:srgbClr>
                </a:solidFill>
                <a:effectLst/>
                <a:uLnTx/>
                <a:uFillTx/>
                <a:latin typeface="Montserrat"/>
                <a:ea typeface="+mn-ea"/>
                <a:cs typeface="Arial" panose="020B0604020202020204" pitchFamily="34" charset="0"/>
              </a:endParaRPr>
            </a:p>
          </p:txBody>
        </p:sp>
        <p:grpSp>
          <p:nvGrpSpPr>
            <p:cNvPr id="53" name="Group 52">
              <a:extLst>
                <a:ext uri="{FF2B5EF4-FFF2-40B4-BE49-F238E27FC236}">
                  <a16:creationId xmlns:a16="http://schemas.microsoft.com/office/drawing/2014/main" id="{9E49AA20-849E-0186-A1FA-770957D4C6D0}"/>
                </a:ext>
              </a:extLst>
            </p:cNvPr>
            <p:cNvGrpSpPr/>
            <p:nvPr/>
          </p:nvGrpSpPr>
          <p:grpSpPr>
            <a:xfrm>
              <a:off x="2766171" y="1912539"/>
              <a:ext cx="9061226" cy="3925083"/>
              <a:chOff x="2766171" y="1912539"/>
              <a:chExt cx="9061226" cy="3925083"/>
            </a:xfrm>
          </p:grpSpPr>
          <p:sp>
            <p:nvSpPr>
              <p:cNvPr id="54" name="Rounded Rectangle 147">
                <a:extLst>
                  <a:ext uri="{FF2B5EF4-FFF2-40B4-BE49-F238E27FC236}">
                    <a16:creationId xmlns:a16="http://schemas.microsoft.com/office/drawing/2014/main" id="{B7494EFE-9C9C-32D0-8218-38ADDE0AC4D0}"/>
                  </a:ext>
                </a:extLst>
              </p:cNvPr>
              <p:cNvSpPr/>
              <p:nvPr/>
            </p:nvSpPr>
            <p:spPr bwMode="gray">
              <a:xfrm>
                <a:off x="3947239" y="4261196"/>
                <a:ext cx="1481064" cy="362710"/>
              </a:xfrm>
              <a:prstGeom prst="roundRect">
                <a:avLst>
                  <a:gd name="adj" fmla="val 7371"/>
                </a:avLst>
              </a:prstGeom>
              <a:solidFill>
                <a:srgbClr val="006496">
                  <a:lumMod val="20000"/>
                  <a:lumOff val="80000"/>
                </a:srgbClr>
              </a:solidFill>
              <a:ln w="12700" cap="flat" cmpd="sng" algn="ctr">
                <a:noFill/>
                <a:prstDash val="solid"/>
                <a:miter lim="800000"/>
              </a:ln>
              <a:effectLst/>
            </p:spPr>
            <p:txBody>
              <a:bodyPr lIns="0" tIns="0" rIns="0" bIns="0" rtlCol="0" anchor="ctr"/>
              <a:lstStyle/>
              <a:p>
                <a:pPr algn="ctr" defTabSz="914363">
                  <a:defRPr/>
                </a:pPr>
                <a:r>
                  <a:rPr kumimoji="0" lang="en-US" sz="900" b="0" i="0" u="none" strike="noStrike" kern="0" cap="none" spc="0" normalizeH="0" baseline="0" noProof="0">
                    <a:ln>
                      <a:noFill/>
                    </a:ln>
                    <a:solidFill>
                      <a:srgbClr val="3C3C3C"/>
                    </a:solidFill>
                    <a:effectLst/>
                    <a:uLnTx/>
                    <a:uFillTx/>
                    <a:latin typeface="Montserrat"/>
                    <a:ea typeface="+mn-ea"/>
                    <a:cs typeface="Arial"/>
                  </a:rPr>
                  <a:t>Project Manager</a:t>
                </a:r>
                <a:r>
                  <a:rPr lang="en-US" sz="900" kern="0">
                    <a:solidFill>
                      <a:srgbClr val="3C3C3C"/>
                    </a:solidFill>
                    <a:latin typeface="Montserrat"/>
                    <a:cs typeface="Arial"/>
                  </a:rPr>
                  <a:t> (Singapore)</a:t>
                </a:r>
                <a:endParaRPr kumimoji="0" lang="en-US" sz="900" b="0" i="0" u="none" strike="noStrike" kern="0" cap="none" spc="0" normalizeH="0" baseline="0" noProof="0">
                  <a:ln>
                    <a:noFill/>
                  </a:ln>
                  <a:solidFill>
                    <a:srgbClr val="3C3C3C"/>
                  </a:solidFill>
                  <a:effectLst/>
                  <a:uLnTx/>
                  <a:uFillTx/>
                  <a:latin typeface="Montserrat"/>
                  <a:ea typeface="+mn-ea"/>
                  <a:cs typeface="Arial" panose="020B0604020202020204" pitchFamily="34" charset="0"/>
                </a:endParaRPr>
              </a:p>
            </p:txBody>
          </p:sp>
          <p:sp>
            <p:nvSpPr>
              <p:cNvPr id="55" name="Rounded Rectangle 143">
                <a:extLst>
                  <a:ext uri="{FF2B5EF4-FFF2-40B4-BE49-F238E27FC236}">
                    <a16:creationId xmlns:a16="http://schemas.microsoft.com/office/drawing/2014/main" id="{63FB9C5A-FA31-BB87-2F0D-AD11249D0FD5}"/>
                  </a:ext>
                </a:extLst>
              </p:cNvPr>
              <p:cNvSpPr/>
              <p:nvPr/>
            </p:nvSpPr>
            <p:spPr bwMode="gray">
              <a:xfrm>
                <a:off x="4721194" y="1912539"/>
                <a:ext cx="2747777" cy="319683"/>
              </a:xfrm>
              <a:prstGeom prst="roundRect">
                <a:avLst>
                  <a:gd name="adj" fmla="val 8699"/>
                </a:avLst>
              </a:prstGeom>
              <a:solidFill>
                <a:srgbClr val="41929D"/>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Montserrat"/>
                    <a:ea typeface="+mn-ea"/>
                    <a:cs typeface="Arial" panose="020B0604020202020204" pitchFamily="34" charset="0"/>
                  </a:rPr>
                  <a:t>PROJECT LEADERSHIP</a:t>
                </a:r>
              </a:p>
            </p:txBody>
          </p:sp>
          <p:cxnSp>
            <p:nvCxnSpPr>
              <p:cNvPr id="56" name="Elbow Connector 35">
                <a:extLst>
                  <a:ext uri="{FF2B5EF4-FFF2-40B4-BE49-F238E27FC236}">
                    <a16:creationId xmlns:a16="http://schemas.microsoft.com/office/drawing/2014/main" id="{F7649C56-CA13-33B9-B65E-6A83AD2FB47C}"/>
                  </a:ext>
                </a:extLst>
              </p:cNvPr>
              <p:cNvCxnSpPr>
                <a:cxnSpLocks/>
                <a:stCxn id="55" idx="1"/>
              </p:cNvCxnSpPr>
              <p:nvPr/>
            </p:nvCxnSpPr>
            <p:spPr>
              <a:xfrm rot="10800000" flipV="1">
                <a:off x="3130751" y="2072382"/>
                <a:ext cx="1590444" cy="497792"/>
              </a:xfrm>
              <a:prstGeom prst="bentConnector3">
                <a:avLst>
                  <a:gd name="adj1" fmla="val 99465"/>
                </a:avLst>
              </a:prstGeom>
              <a:noFill/>
              <a:ln w="6350" cap="flat" cmpd="sng" algn="ctr">
                <a:solidFill>
                  <a:srgbClr val="3C3C3C"/>
                </a:solidFill>
                <a:prstDash val="solid"/>
                <a:miter lim="800000"/>
                <a:tailEnd type="triangle"/>
              </a:ln>
              <a:effectLst/>
            </p:spPr>
          </p:cxnSp>
          <p:sp>
            <p:nvSpPr>
              <p:cNvPr id="57" name="Rounded Rectangle 145">
                <a:extLst>
                  <a:ext uri="{FF2B5EF4-FFF2-40B4-BE49-F238E27FC236}">
                    <a16:creationId xmlns:a16="http://schemas.microsoft.com/office/drawing/2014/main" id="{5F1A112F-87E2-EBAD-1FDD-A70E807F7BAA}"/>
                  </a:ext>
                </a:extLst>
              </p:cNvPr>
              <p:cNvSpPr/>
              <p:nvPr/>
            </p:nvSpPr>
            <p:spPr bwMode="gray">
              <a:xfrm>
                <a:off x="2860429" y="2591532"/>
                <a:ext cx="3068280" cy="235692"/>
              </a:xfrm>
              <a:prstGeom prst="roundRect">
                <a:avLst>
                  <a:gd name="adj" fmla="val 8699"/>
                </a:avLst>
              </a:prstGeom>
              <a:solidFill>
                <a:srgbClr val="006496"/>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Montserrat"/>
                    <a:ea typeface="+mn-ea"/>
                    <a:cs typeface="Arial" panose="020B0604020202020204" pitchFamily="34" charset="0"/>
                  </a:rPr>
                  <a:t>Project Sponsor</a:t>
                </a:r>
              </a:p>
            </p:txBody>
          </p:sp>
          <p:sp>
            <p:nvSpPr>
              <p:cNvPr id="58" name="Rounded Rectangle 146">
                <a:extLst>
                  <a:ext uri="{FF2B5EF4-FFF2-40B4-BE49-F238E27FC236}">
                    <a16:creationId xmlns:a16="http://schemas.microsoft.com/office/drawing/2014/main" id="{0C8C8E3B-C7DC-1C22-BB2C-76D14D5BDC14}"/>
                  </a:ext>
                </a:extLst>
              </p:cNvPr>
              <p:cNvSpPr/>
              <p:nvPr/>
            </p:nvSpPr>
            <p:spPr bwMode="gray">
              <a:xfrm>
                <a:off x="2863511" y="2876667"/>
                <a:ext cx="3068280" cy="235692"/>
              </a:xfrm>
              <a:prstGeom prst="roundRect">
                <a:avLst>
                  <a:gd name="adj" fmla="val 8699"/>
                </a:avLst>
              </a:prstGeom>
              <a:solidFill>
                <a:srgbClr val="006496"/>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Montserrat"/>
                    <a:ea typeface="+mn-ea"/>
                    <a:cs typeface="Arial" panose="020B0604020202020204" pitchFamily="34" charset="0"/>
                  </a:rPr>
                  <a:t>Engagement Executive </a:t>
                </a:r>
              </a:p>
            </p:txBody>
          </p:sp>
          <p:sp>
            <p:nvSpPr>
              <p:cNvPr id="59" name="Rounded Rectangle 147">
                <a:extLst>
                  <a:ext uri="{FF2B5EF4-FFF2-40B4-BE49-F238E27FC236}">
                    <a16:creationId xmlns:a16="http://schemas.microsoft.com/office/drawing/2014/main" id="{A8595C49-E3E7-CD5F-E957-569199BEF98E}"/>
                  </a:ext>
                </a:extLst>
              </p:cNvPr>
              <p:cNvSpPr/>
              <p:nvPr/>
            </p:nvSpPr>
            <p:spPr bwMode="gray">
              <a:xfrm>
                <a:off x="2860429" y="3153437"/>
                <a:ext cx="3068280" cy="235692"/>
              </a:xfrm>
              <a:prstGeom prst="roundRect">
                <a:avLst>
                  <a:gd name="adj" fmla="val 7371"/>
                </a:avLst>
              </a:prstGeom>
              <a:solidFill>
                <a:srgbClr val="006496"/>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Montserrat"/>
                    <a:ea typeface="+mn-ea"/>
                    <a:cs typeface="Arial" panose="020B0604020202020204" pitchFamily="34" charset="0"/>
                  </a:rPr>
                  <a:t>Project Manager</a:t>
                </a:r>
              </a:p>
            </p:txBody>
          </p:sp>
          <p:sp>
            <p:nvSpPr>
              <p:cNvPr id="60" name="Rounded Rectangle 145">
                <a:extLst>
                  <a:ext uri="{FF2B5EF4-FFF2-40B4-BE49-F238E27FC236}">
                    <a16:creationId xmlns:a16="http://schemas.microsoft.com/office/drawing/2014/main" id="{44065C0F-6B12-82E7-BE3B-CB305EB63FC5}"/>
                  </a:ext>
                </a:extLst>
              </p:cNvPr>
              <p:cNvSpPr/>
              <p:nvPr/>
            </p:nvSpPr>
            <p:spPr bwMode="gray">
              <a:xfrm>
                <a:off x="9991285" y="2719650"/>
                <a:ext cx="1836112" cy="528719"/>
              </a:xfrm>
              <a:prstGeom prst="roundRect">
                <a:avLst>
                  <a:gd name="adj" fmla="val 8699"/>
                </a:avLst>
              </a:prstGeom>
              <a:solidFill>
                <a:srgbClr val="006496">
                  <a:lumMod val="20000"/>
                  <a:lumOff val="80000"/>
                </a:srgbClr>
              </a:solidFill>
              <a:ln w="12700" cap="flat" cmpd="sng" algn="ctr">
                <a:noFill/>
                <a:prstDash val="solid"/>
                <a:miter lim="800000"/>
              </a:ln>
              <a:effectLst/>
            </p:spPr>
            <p:txBody>
              <a:bodyPr lIns="91440" tIns="45720" rIns="91440" bIns="45720" rtlCol="0" anchor="ctr"/>
              <a:lstStyle/>
              <a:p>
                <a:pPr algn="ctr" defTabSz="914363">
                  <a:defRPr/>
                </a:pPr>
                <a:r>
                  <a:rPr kumimoji="0" lang="en-US" sz="900" b="0" i="0" u="none" strike="noStrike" kern="0" cap="none" spc="0" normalizeH="0" baseline="0" noProof="0">
                    <a:ln>
                      <a:noFill/>
                    </a:ln>
                    <a:solidFill>
                      <a:srgbClr val="3C3C3C"/>
                    </a:solidFill>
                    <a:effectLst/>
                    <a:uLnTx/>
                    <a:uFillTx/>
                    <a:latin typeface="Montserrat"/>
                    <a:ea typeface="+mn-ea"/>
                    <a:cs typeface="Arial"/>
                  </a:rPr>
                  <a:t>SWO Key Account </a:t>
                </a:r>
                <a:r>
                  <a:rPr lang="en-US" sz="900" kern="0">
                    <a:solidFill>
                      <a:srgbClr val="3C3C3C"/>
                    </a:solidFill>
                    <a:latin typeface="Montserrat"/>
                    <a:cs typeface="Arial"/>
                  </a:rPr>
                  <a:t>Customer Success</a:t>
                </a:r>
                <a:r>
                  <a:rPr kumimoji="0" lang="en-US" sz="900" b="0" i="0" u="none" strike="noStrike" kern="0" cap="none" spc="0" normalizeH="0" baseline="0" noProof="0">
                    <a:ln>
                      <a:noFill/>
                    </a:ln>
                    <a:solidFill>
                      <a:srgbClr val="3C3C3C"/>
                    </a:solidFill>
                    <a:effectLst/>
                    <a:uLnTx/>
                    <a:uFillTx/>
                    <a:latin typeface="Montserrat"/>
                    <a:ea typeface="+mn-ea"/>
                    <a:cs typeface="Arial"/>
                  </a:rPr>
                  <a:t> Manager</a:t>
                </a:r>
              </a:p>
            </p:txBody>
          </p:sp>
          <p:sp>
            <p:nvSpPr>
              <p:cNvPr id="61" name="Rounded Rectangle 146">
                <a:extLst>
                  <a:ext uri="{FF2B5EF4-FFF2-40B4-BE49-F238E27FC236}">
                    <a16:creationId xmlns:a16="http://schemas.microsoft.com/office/drawing/2014/main" id="{21640A82-0F65-2FB7-B9ED-0D99D50BF456}"/>
                  </a:ext>
                </a:extLst>
              </p:cNvPr>
              <p:cNvSpPr/>
              <p:nvPr/>
            </p:nvSpPr>
            <p:spPr bwMode="gray">
              <a:xfrm>
                <a:off x="6010893" y="2591532"/>
                <a:ext cx="3266896" cy="235692"/>
              </a:xfrm>
              <a:prstGeom prst="roundRect">
                <a:avLst>
                  <a:gd name="adj" fmla="val 8699"/>
                </a:avLst>
              </a:prstGeom>
              <a:solidFill>
                <a:srgbClr val="006496">
                  <a:lumMod val="20000"/>
                  <a:lumOff val="80000"/>
                </a:srgbClr>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3C"/>
                    </a:solidFill>
                    <a:effectLst/>
                    <a:uLnTx/>
                    <a:uFillTx/>
                    <a:latin typeface="Montserrat"/>
                    <a:ea typeface="+mn-ea"/>
                    <a:cs typeface="Arial" panose="020B0604020202020204" pitchFamily="34" charset="0"/>
                  </a:rPr>
                  <a:t>SWO Executive Sponsor</a:t>
                </a:r>
              </a:p>
            </p:txBody>
          </p:sp>
          <p:sp>
            <p:nvSpPr>
              <p:cNvPr id="62" name="Rounded Rectangle 147">
                <a:extLst>
                  <a:ext uri="{FF2B5EF4-FFF2-40B4-BE49-F238E27FC236}">
                    <a16:creationId xmlns:a16="http://schemas.microsoft.com/office/drawing/2014/main" id="{D3CD3FBB-5CC0-91C9-350F-3EAD0DEE22C7}"/>
                  </a:ext>
                </a:extLst>
              </p:cNvPr>
              <p:cNvSpPr/>
              <p:nvPr/>
            </p:nvSpPr>
            <p:spPr bwMode="gray">
              <a:xfrm>
                <a:off x="6022967" y="2906368"/>
                <a:ext cx="3266896" cy="235692"/>
              </a:xfrm>
              <a:prstGeom prst="roundRect">
                <a:avLst>
                  <a:gd name="adj" fmla="val 7371"/>
                </a:avLst>
              </a:prstGeom>
              <a:solidFill>
                <a:srgbClr val="006496">
                  <a:lumMod val="20000"/>
                  <a:lumOff val="80000"/>
                </a:srgbClr>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3C"/>
                    </a:solidFill>
                    <a:effectLst/>
                    <a:uLnTx/>
                    <a:uFillTx/>
                    <a:latin typeface="Montserrat"/>
                    <a:ea typeface="+mn-ea"/>
                    <a:cs typeface="Arial" panose="020B0604020202020204" pitchFamily="34" charset="0"/>
                  </a:rPr>
                  <a:t>SWO Delivery Head</a:t>
                </a:r>
              </a:p>
            </p:txBody>
          </p:sp>
          <p:sp>
            <p:nvSpPr>
              <p:cNvPr id="63" name="Rounded Rectangle 147">
                <a:extLst>
                  <a:ext uri="{FF2B5EF4-FFF2-40B4-BE49-F238E27FC236}">
                    <a16:creationId xmlns:a16="http://schemas.microsoft.com/office/drawing/2014/main" id="{C2BE1427-71AA-710B-6200-49563ADB4CB5}"/>
                  </a:ext>
                </a:extLst>
              </p:cNvPr>
              <p:cNvSpPr/>
              <p:nvPr/>
            </p:nvSpPr>
            <p:spPr bwMode="gray">
              <a:xfrm>
                <a:off x="6022967" y="3177193"/>
                <a:ext cx="3266896" cy="235692"/>
              </a:xfrm>
              <a:prstGeom prst="roundRect">
                <a:avLst>
                  <a:gd name="adj" fmla="val 7371"/>
                </a:avLst>
              </a:prstGeom>
              <a:solidFill>
                <a:srgbClr val="006496">
                  <a:lumMod val="20000"/>
                  <a:lumOff val="80000"/>
                </a:srgbClr>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3C"/>
                    </a:solidFill>
                    <a:effectLst/>
                    <a:uLnTx/>
                    <a:uFillTx/>
                    <a:latin typeface="Montserrat"/>
                    <a:ea typeface="+mn-ea"/>
                    <a:cs typeface="Arial" panose="020B0604020202020204" pitchFamily="34" charset="0"/>
                  </a:rPr>
                  <a:t>SWO Project Manager </a:t>
                </a:r>
              </a:p>
            </p:txBody>
          </p:sp>
          <p:sp>
            <p:nvSpPr>
              <p:cNvPr id="64" name="Rounded Rectangle 142">
                <a:extLst>
                  <a:ext uri="{FF2B5EF4-FFF2-40B4-BE49-F238E27FC236}">
                    <a16:creationId xmlns:a16="http://schemas.microsoft.com/office/drawing/2014/main" id="{1D41BCDE-56CF-6020-07CA-148F15DCD1C8}"/>
                  </a:ext>
                </a:extLst>
              </p:cNvPr>
              <p:cNvSpPr/>
              <p:nvPr/>
            </p:nvSpPr>
            <p:spPr bwMode="gray">
              <a:xfrm>
                <a:off x="2766171" y="2464624"/>
                <a:ext cx="6657824" cy="1057253"/>
              </a:xfrm>
              <a:prstGeom prst="roundRect">
                <a:avLst>
                  <a:gd name="adj" fmla="val 0"/>
                </a:avLst>
              </a:prstGeom>
              <a:noFill/>
              <a:ln w="12700">
                <a:solidFill>
                  <a:srgbClr val="FFFFFF">
                    <a:lumMod val="65000"/>
                  </a:srgbClr>
                </a:solidFill>
                <a:prstDash val="dash"/>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Montserrat"/>
                  <a:cs typeface="Arial" pitchFamily="34" charset="0"/>
                </a:endParaRPr>
              </a:p>
            </p:txBody>
          </p:sp>
          <p:cxnSp>
            <p:nvCxnSpPr>
              <p:cNvPr id="65" name="Elbow Connector 35">
                <a:extLst>
                  <a:ext uri="{FF2B5EF4-FFF2-40B4-BE49-F238E27FC236}">
                    <a16:creationId xmlns:a16="http://schemas.microsoft.com/office/drawing/2014/main" id="{82F83134-DDA4-A33D-0A0C-08FF915AE866}"/>
                  </a:ext>
                </a:extLst>
              </p:cNvPr>
              <p:cNvCxnSpPr>
                <a:cxnSpLocks/>
                <a:stCxn id="55" idx="3"/>
              </p:cNvCxnSpPr>
              <p:nvPr/>
            </p:nvCxnSpPr>
            <p:spPr>
              <a:xfrm>
                <a:off x="7468971" y="2072382"/>
                <a:ext cx="1590444" cy="518997"/>
              </a:xfrm>
              <a:prstGeom prst="bentConnector3">
                <a:avLst>
                  <a:gd name="adj1" fmla="val 100348"/>
                </a:avLst>
              </a:prstGeom>
              <a:noFill/>
              <a:ln w="6350" cap="flat" cmpd="sng" algn="ctr">
                <a:solidFill>
                  <a:srgbClr val="3C3C3C"/>
                </a:solidFill>
                <a:prstDash val="solid"/>
                <a:miter lim="800000"/>
                <a:tailEnd type="triangle"/>
              </a:ln>
              <a:effectLst/>
            </p:spPr>
          </p:cxnSp>
          <p:sp>
            <p:nvSpPr>
              <p:cNvPr id="66" name="Rounded Rectangle 142">
                <a:extLst>
                  <a:ext uri="{FF2B5EF4-FFF2-40B4-BE49-F238E27FC236}">
                    <a16:creationId xmlns:a16="http://schemas.microsoft.com/office/drawing/2014/main" id="{A20B2719-83B5-582F-5ABA-2F6891C249F1}"/>
                  </a:ext>
                </a:extLst>
              </p:cNvPr>
              <p:cNvSpPr/>
              <p:nvPr/>
            </p:nvSpPr>
            <p:spPr bwMode="gray">
              <a:xfrm>
                <a:off x="3100516" y="3957141"/>
                <a:ext cx="6201941" cy="1880481"/>
              </a:xfrm>
              <a:prstGeom prst="roundRect">
                <a:avLst>
                  <a:gd name="adj" fmla="val 0"/>
                </a:avLst>
              </a:prstGeom>
              <a:noFill/>
              <a:ln w="12700">
                <a:solidFill>
                  <a:srgbClr val="FFFFFF">
                    <a:lumMod val="65000"/>
                  </a:srgbClr>
                </a:solidFill>
                <a:prstDash val="dash"/>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Montserrat"/>
                  <a:cs typeface="Arial" pitchFamily="34" charset="0"/>
                </a:endParaRPr>
              </a:p>
            </p:txBody>
          </p:sp>
          <p:sp>
            <p:nvSpPr>
              <p:cNvPr id="67" name="Rounded Rectangle 147">
                <a:extLst>
                  <a:ext uri="{FF2B5EF4-FFF2-40B4-BE49-F238E27FC236}">
                    <a16:creationId xmlns:a16="http://schemas.microsoft.com/office/drawing/2014/main" id="{96A6B106-AB0C-5502-84A9-ED94F1DD399F}"/>
                  </a:ext>
                </a:extLst>
              </p:cNvPr>
              <p:cNvSpPr/>
              <p:nvPr/>
            </p:nvSpPr>
            <p:spPr bwMode="gray">
              <a:xfrm>
                <a:off x="7015477" y="4843948"/>
                <a:ext cx="1481064" cy="362710"/>
              </a:xfrm>
              <a:prstGeom prst="roundRect">
                <a:avLst>
                  <a:gd name="adj" fmla="val 7371"/>
                </a:avLst>
              </a:prstGeom>
              <a:solidFill>
                <a:srgbClr val="006496">
                  <a:lumMod val="20000"/>
                  <a:lumOff val="80000"/>
                </a:srgbClr>
              </a:solidFill>
              <a:ln w="12700" cap="flat" cmpd="sng" algn="ctr">
                <a:noFill/>
                <a:prstDash val="solid"/>
                <a:miter lim="800000"/>
              </a:ln>
              <a:effectLst/>
            </p:spPr>
            <p:txBody>
              <a:bodyPr lIns="0" tIns="0" rIns="0" bIns="0" rtlCol="0" anchor="ctr"/>
              <a:lstStyle/>
              <a:p>
                <a:pPr algn="ctr" defTabSz="914363">
                  <a:defRPr/>
                </a:pPr>
                <a:r>
                  <a:rPr lang="en-US" sz="900" kern="0" dirty="0">
                    <a:solidFill>
                      <a:srgbClr val="3C3C3C"/>
                    </a:solidFill>
                    <a:latin typeface="Montserrat"/>
                    <a:cs typeface="Arial"/>
                  </a:rPr>
                  <a:t>Software Engineer</a:t>
                </a:r>
                <a:endParaRPr lang="en-US" dirty="0">
                  <a:solidFill>
                    <a:srgbClr val="000000"/>
                  </a:solidFill>
                  <a:latin typeface="Arial"/>
                  <a:cs typeface="Arial"/>
                </a:endParaRPr>
              </a:p>
              <a:p>
                <a:pPr algn="ctr" defTabSz="914363">
                  <a:defRPr/>
                </a:pPr>
                <a:r>
                  <a:rPr lang="en-US" sz="900" kern="0" dirty="0">
                    <a:solidFill>
                      <a:srgbClr val="3C3C3C"/>
                    </a:solidFill>
                    <a:latin typeface="Montserrat"/>
                    <a:cs typeface="Arial"/>
                  </a:rPr>
                  <a:t>(Offshore)</a:t>
                </a:r>
                <a:endParaRPr lang="en-US" dirty="0">
                  <a:cs typeface="Arial"/>
                </a:endParaRPr>
              </a:p>
            </p:txBody>
          </p:sp>
          <p:sp>
            <p:nvSpPr>
              <p:cNvPr id="68" name="Rounded Rectangle 143">
                <a:extLst>
                  <a:ext uri="{FF2B5EF4-FFF2-40B4-BE49-F238E27FC236}">
                    <a16:creationId xmlns:a16="http://schemas.microsoft.com/office/drawing/2014/main" id="{4E7783E1-D3B8-0E4A-3213-06E92A7FF64C}"/>
                  </a:ext>
                </a:extLst>
              </p:cNvPr>
              <p:cNvSpPr/>
              <p:nvPr/>
            </p:nvSpPr>
            <p:spPr bwMode="gray">
              <a:xfrm>
                <a:off x="3100516" y="3669290"/>
                <a:ext cx="6201941" cy="293802"/>
              </a:xfrm>
              <a:prstGeom prst="roundRect">
                <a:avLst>
                  <a:gd name="adj" fmla="val 8699"/>
                </a:avLst>
              </a:prstGeom>
              <a:solidFill>
                <a:srgbClr val="41929D"/>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lang="en-US" sz="1100" b="1" kern="0">
                    <a:solidFill>
                      <a:srgbClr val="FFFFFF"/>
                    </a:solidFill>
                    <a:latin typeface="Montserrat"/>
                    <a:cs typeface="Arial" panose="020B0604020202020204" pitchFamily="34" charset="0"/>
                  </a:rPr>
                  <a:t>Project</a:t>
                </a:r>
                <a:r>
                  <a:rPr kumimoji="0" lang="en-US" sz="1100" b="1" i="0" u="none" strike="noStrike" kern="0" cap="none" spc="0" normalizeH="0" baseline="0" noProof="0">
                    <a:ln>
                      <a:noFill/>
                    </a:ln>
                    <a:solidFill>
                      <a:srgbClr val="FFFFFF"/>
                    </a:solidFill>
                    <a:effectLst/>
                    <a:uLnTx/>
                    <a:uFillTx/>
                    <a:latin typeface="Montserrat"/>
                    <a:ea typeface="+mn-ea"/>
                    <a:cs typeface="Arial" panose="020B0604020202020204" pitchFamily="34" charset="0"/>
                  </a:rPr>
                  <a:t> Team</a:t>
                </a:r>
              </a:p>
            </p:txBody>
          </p:sp>
          <p:sp>
            <p:nvSpPr>
              <p:cNvPr id="69" name="TextBox 68">
                <a:extLst>
                  <a:ext uri="{FF2B5EF4-FFF2-40B4-BE49-F238E27FC236}">
                    <a16:creationId xmlns:a16="http://schemas.microsoft.com/office/drawing/2014/main" id="{083CA39C-0705-5C02-FA00-29561A48C39E}"/>
                  </a:ext>
                </a:extLst>
              </p:cNvPr>
              <p:cNvSpPr txBox="1"/>
              <p:nvPr/>
            </p:nvSpPr>
            <p:spPr>
              <a:xfrm>
                <a:off x="5249246" y="2370626"/>
                <a:ext cx="1316991" cy="126490"/>
              </a:xfrm>
              <a:prstGeom prst="rect">
                <a:avLst/>
              </a:prstGeom>
              <a:solidFill>
                <a:srgbClr val="FFFFFF"/>
              </a:solidFill>
            </p:spPr>
            <p:txBody>
              <a:bodyPr wrap="square" lIns="0" tIns="0" rIns="0" bIns="0" rtlCol="0">
                <a:spAutoFit/>
              </a:bodyP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C3C3C"/>
                    </a:solidFill>
                    <a:effectLst/>
                    <a:uLnTx/>
                    <a:uFillTx/>
                    <a:latin typeface="Montserrat"/>
                  </a:rPr>
                  <a:t>STEERING COMMITTEE</a:t>
                </a:r>
              </a:p>
            </p:txBody>
          </p:sp>
          <p:cxnSp>
            <p:nvCxnSpPr>
              <p:cNvPr id="70" name="Straight Connector 69">
                <a:extLst>
                  <a:ext uri="{FF2B5EF4-FFF2-40B4-BE49-F238E27FC236}">
                    <a16:creationId xmlns:a16="http://schemas.microsoft.com/office/drawing/2014/main" id="{D476BBDF-2434-A003-AB97-1CF6EB58493A}"/>
                  </a:ext>
                </a:extLst>
              </p:cNvPr>
              <p:cNvCxnSpPr>
                <a:cxnSpLocks/>
              </p:cNvCxnSpPr>
              <p:nvPr/>
            </p:nvCxnSpPr>
            <p:spPr>
              <a:xfrm flipV="1">
                <a:off x="9423995" y="2984012"/>
                <a:ext cx="567291" cy="9240"/>
              </a:xfrm>
              <a:prstGeom prst="line">
                <a:avLst/>
              </a:prstGeom>
              <a:noFill/>
              <a:ln w="6350" cap="flat" cmpd="sng" algn="ctr">
                <a:solidFill>
                  <a:srgbClr val="FFFFFF">
                    <a:lumMod val="65000"/>
                  </a:srgbClr>
                </a:solidFill>
                <a:prstDash val="solid"/>
                <a:miter lim="800000"/>
              </a:ln>
              <a:effectLst/>
            </p:spPr>
          </p:cxnSp>
          <p:sp>
            <p:nvSpPr>
              <p:cNvPr id="71" name="Rounded Rectangle 147">
                <a:extLst>
                  <a:ext uri="{FF2B5EF4-FFF2-40B4-BE49-F238E27FC236}">
                    <a16:creationId xmlns:a16="http://schemas.microsoft.com/office/drawing/2014/main" id="{0E0622B7-1E9E-94DC-E45D-C59AB2A7AD19}"/>
                  </a:ext>
                </a:extLst>
              </p:cNvPr>
              <p:cNvSpPr/>
              <p:nvPr/>
            </p:nvSpPr>
            <p:spPr bwMode="gray">
              <a:xfrm>
                <a:off x="3946491" y="4843948"/>
                <a:ext cx="1481064" cy="363600"/>
              </a:xfrm>
              <a:prstGeom prst="roundRect">
                <a:avLst>
                  <a:gd name="adj" fmla="val 7371"/>
                </a:avLst>
              </a:prstGeom>
              <a:solidFill>
                <a:srgbClr val="006496">
                  <a:lumMod val="20000"/>
                  <a:lumOff val="80000"/>
                </a:srgbClr>
              </a:solidFill>
              <a:ln w="12700" cap="flat" cmpd="sng" algn="ctr">
                <a:noFill/>
                <a:prstDash val="solid"/>
                <a:miter lim="800000"/>
              </a:ln>
              <a:effectLst/>
            </p:spPr>
            <p:txBody>
              <a:bodyPr lIns="0" tIns="0" rIns="0" bIns="0" rtlCol="0" anchor="ctr"/>
              <a:lstStyle/>
              <a:p>
                <a:pPr algn="ctr" defTabSz="914363">
                  <a:defRPr/>
                </a:pPr>
                <a:r>
                  <a:rPr lang="en-US" sz="900" kern="0" dirty="0">
                    <a:solidFill>
                      <a:srgbClr val="3C3C3C"/>
                    </a:solidFill>
                    <a:latin typeface="Montserrat"/>
                    <a:cs typeface="Arial"/>
                  </a:rPr>
                  <a:t>Data Engineer</a:t>
                </a:r>
              </a:p>
              <a:p>
                <a:pPr algn="ctr" defTabSz="914363">
                  <a:defRPr/>
                </a:pPr>
                <a:r>
                  <a:rPr lang="en-US" sz="900" kern="0" dirty="0">
                    <a:solidFill>
                      <a:srgbClr val="3C3C3C"/>
                    </a:solidFill>
                    <a:latin typeface="Montserrat"/>
                    <a:cs typeface="Arial"/>
                  </a:rPr>
                  <a:t>(Offshore)</a:t>
                </a:r>
              </a:p>
            </p:txBody>
          </p:sp>
          <p:sp>
            <p:nvSpPr>
              <p:cNvPr id="72" name="Rounded Rectangle 147">
                <a:extLst>
                  <a:ext uri="{FF2B5EF4-FFF2-40B4-BE49-F238E27FC236}">
                    <a16:creationId xmlns:a16="http://schemas.microsoft.com/office/drawing/2014/main" id="{1DF5FABD-98A5-CE0B-8FC7-D89135469856}"/>
                  </a:ext>
                </a:extLst>
              </p:cNvPr>
              <p:cNvSpPr/>
              <p:nvPr/>
            </p:nvSpPr>
            <p:spPr bwMode="gray">
              <a:xfrm>
                <a:off x="6998231" y="4261196"/>
                <a:ext cx="1481064" cy="362710"/>
              </a:xfrm>
              <a:prstGeom prst="roundRect">
                <a:avLst>
                  <a:gd name="adj" fmla="val 7371"/>
                </a:avLst>
              </a:prstGeom>
              <a:solidFill>
                <a:srgbClr val="006496">
                  <a:lumMod val="20000"/>
                  <a:lumOff val="80000"/>
                </a:srgbClr>
              </a:solidFill>
              <a:ln w="12700" cap="flat" cmpd="sng" algn="ctr">
                <a:noFill/>
                <a:prstDash val="solid"/>
                <a:miter lim="800000"/>
              </a:ln>
              <a:effectLst/>
            </p:spPr>
            <p:txBody>
              <a:bodyPr lIns="0" tIns="0" rIns="0" bIns="0"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3C"/>
                    </a:solidFill>
                    <a:effectLst/>
                    <a:uLnTx/>
                    <a:uFillTx/>
                    <a:latin typeface="Montserrat"/>
                    <a:ea typeface="+mn-ea"/>
                    <a:cs typeface="Arial"/>
                  </a:rPr>
                  <a:t>Solution Architect</a:t>
                </a:r>
                <a:r>
                  <a:rPr lang="en-US" sz="900" kern="0">
                    <a:solidFill>
                      <a:srgbClr val="3C3C3C"/>
                    </a:solidFill>
                    <a:latin typeface="Montserrat"/>
                    <a:cs typeface="Arial"/>
                  </a:rPr>
                  <a:t>(Singapore)</a:t>
                </a:r>
                <a:endParaRPr kumimoji="0" lang="en-US" sz="900" b="0" i="0" u="none" strike="noStrike" kern="0" cap="none" spc="0" normalizeH="0" baseline="0" noProof="0">
                  <a:ln>
                    <a:noFill/>
                  </a:ln>
                  <a:solidFill>
                    <a:srgbClr val="3C3C3C"/>
                  </a:solidFill>
                  <a:effectLst/>
                  <a:uLnTx/>
                  <a:uFillTx/>
                  <a:latin typeface="Montserrat"/>
                  <a:ea typeface="+mn-ea"/>
                  <a:cs typeface="Arial"/>
                </a:endParaRPr>
              </a:p>
            </p:txBody>
          </p:sp>
        </p:grpSp>
      </p:grpSp>
    </p:spTree>
    <p:extLst>
      <p:ext uri="{BB962C8B-B14F-4D97-AF65-F5344CB8AC3E}">
        <p14:creationId xmlns:p14="http://schemas.microsoft.com/office/powerpoint/2010/main" val="1814489601"/>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04BBDA-05B2-A8BC-A6F8-D2DCC4C75FDA}"/>
              </a:ext>
            </a:extLst>
          </p:cNvPr>
          <p:cNvSpPr>
            <a:spLocks noGrp="1"/>
          </p:cNvSpPr>
          <p:nvPr>
            <p:ph type="title"/>
          </p:nvPr>
        </p:nvSpPr>
        <p:spPr/>
        <p:txBody>
          <a:bodyPr/>
          <a:lstStyle/>
          <a:p>
            <a:r>
              <a:rPr lang="en-US"/>
              <a:t>Commercials</a:t>
            </a:r>
            <a:endParaRPr lang="en-US">
              <a:cs typeface="Arial"/>
            </a:endParaRPr>
          </a:p>
        </p:txBody>
      </p:sp>
      <p:pic>
        <p:nvPicPr>
          <p:cNvPr id="9" name="Picture Placeholder 8">
            <a:extLst>
              <a:ext uri="{FF2B5EF4-FFF2-40B4-BE49-F238E27FC236}">
                <a16:creationId xmlns:a16="http://schemas.microsoft.com/office/drawing/2014/main" id="{C0D64082-4774-5790-698A-A46DF564C5F9}"/>
              </a:ext>
            </a:extLst>
          </p:cNvPr>
          <p:cNvPicPr>
            <a:picLocks noGrp="1" noChangeAspect="1"/>
          </p:cNvPicPr>
          <p:nvPr>
            <p:ph type="pic" sz="quarter" idx="43"/>
          </p:nvPr>
        </p:nvPicPr>
        <p:blipFill>
          <a:blip r:embed="rId2" cstate="screen">
            <a:extLst>
              <a:ext uri="{28A0092B-C50C-407E-A947-70E740481C1C}">
                <a14:useLocalDpi xmlns:a14="http://schemas.microsoft.com/office/drawing/2010/main"/>
              </a:ext>
            </a:extLst>
          </a:blip>
          <a:srcRect l="16581" r="16581"/>
          <a:stretch/>
        </p:blipFill>
        <p:spPr>
          <a:xfrm>
            <a:off x="5436946" y="608013"/>
            <a:ext cx="5715262" cy="5715262"/>
          </a:xfrm>
        </p:spPr>
      </p:pic>
    </p:spTree>
    <p:extLst>
      <p:ext uri="{BB962C8B-B14F-4D97-AF65-F5344CB8AC3E}">
        <p14:creationId xmlns:p14="http://schemas.microsoft.com/office/powerpoint/2010/main" val="22561742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1515B-25D9-80DA-71FC-63239CA63B4E}"/>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C8AAA35-2A82-6933-CDF9-6A8B894C91D8}"/>
              </a:ext>
            </a:extLst>
          </p:cNvPr>
          <p:cNvSpPr>
            <a:spLocks noGrp="1"/>
          </p:cNvSpPr>
          <p:nvPr>
            <p:ph type="sldNum" sz="quarter" idx="12"/>
          </p:nvPr>
        </p:nvSpPr>
        <p:spPr/>
        <p:txBody>
          <a:bodyPr/>
          <a:lstStyle/>
          <a:p>
            <a:fld id="{E4C2AD82-1025-4508-97C1-6F7EE5C92734}" type="slidenum">
              <a:rPr lang="en-AU" smtClean="0"/>
              <a:pPr/>
              <a:t>18</a:t>
            </a:fld>
            <a:endParaRPr lang="en-AU"/>
          </a:p>
        </p:txBody>
      </p:sp>
      <p:sp>
        <p:nvSpPr>
          <p:cNvPr id="2" name="Content Placeholder 1">
            <a:extLst>
              <a:ext uri="{FF2B5EF4-FFF2-40B4-BE49-F238E27FC236}">
                <a16:creationId xmlns:a16="http://schemas.microsoft.com/office/drawing/2014/main" id="{633AD8E2-A0FD-1838-7626-D8CA624E8F6D}"/>
              </a:ext>
            </a:extLst>
          </p:cNvPr>
          <p:cNvSpPr>
            <a:spLocks noGrp="1"/>
          </p:cNvSpPr>
          <p:nvPr>
            <p:ph idx="13"/>
          </p:nvPr>
        </p:nvSpPr>
        <p:spPr>
          <a:xfrm>
            <a:off x="479425" y="252331"/>
            <a:ext cx="11233150" cy="297717"/>
          </a:xfrm>
        </p:spPr>
        <p:txBody>
          <a:bodyPr/>
          <a:lstStyle/>
          <a:p>
            <a:r>
              <a:rPr lang="en-US"/>
              <a:t>Commercials</a:t>
            </a:r>
          </a:p>
        </p:txBody>
      </p:sp>
      <p:sp>
        <p:nvSpPr>
          <p:cNvPr id="10" name="Title 4">
            <a:extLst>
              <a:ext uri="{FF2B5EF4-FFF2-40B4-BE49-F238E27FC236}">
                <a16:creationId xmlns:a16="http://schemas.microsoft.com/office/drawing/2014/main" id="{8B6BD01A-91C2-AC5E-2D28-713F3A7CB0B7}"/>
              </a:ext>
            </a:extLst>
          </p:cNvPr>
          <p:cNvSpPr>
            <a:spLocks noGrp="1"/>
          </p:cNvSpPr>
          <p:nvPr>
            <p:ph type="title"/>
          </p:nvPr>
        </p:nvSpPr>
        <p:spPr/>
        <p:txBody>
          <a:bodyPr/>
          <a:lstStyle/>
          <a:p>
            <a:r>
              <a:rPr lang="en-SG"/>
              <a:t>Professional Services </a:t>
            </a:r>
          </a:p>
        </p:txBody>
      </p:sp>
      <p:graphicFrame>
        <p:nvGraphicFramePr>
          <p:cNvPr id="9" name="Table 8">
            <a:extLst>
              <a:ext uri="{FF2B5EF4-FFF2-40B4-BE49-F238E27FC236}">
                <a16:creationId xmlns:a16="http://schemas.microsoft.com/office/drawing/2014/main" id="{FD0A2508-EBC0-3487-E325-A1DEFD15249F}"/>
              </a:ext>
            </a:extLst>
          </p:cNvPr>
          <p:cNvGraphicFramePr>
            <a:graphicFrameLocks noGrp="1"/>
          </p:cNvGraphicFramePr>
          <p:nvPr>
            <p:extLst>
              <p:ext uri="{D42A27DB-BD31-4B8C-83A1-F6EECF244321}">
                <p14:modId xmlns:p14="http://schemas.microsoft.com/office/powerpoint/2010/main" val="930014914"/>
              </p:ext>
            </p:extLst>
          </p:nvPr>
        </p:nvGraphicFramePr>
        <p:xfrm>
          <a:off x="480164" y="1200410"/>
          <a:ext cx="11162753" cy="2234757"/>
        </p:xfrm>
        <a:graphic>
          <a:graphicData uri="http://schemas.openxmlformats.org/drawingml/2006/table">
            <a:tbl>
              <a:tblPr firstRow="1" bandRow="1">
                <a:tableStyleId>{00A15C55-8517-42AA-B614-E9B94910E393}</a:tableStyleId>
              </a:tblPr>
              <a:tblGrid>
                <a:gridCol w="1080904">
                  <a:extLst>
                    <a:ext uri="{9D8B030D-6E8A-4147-A177-3AD203B41FA5}">
                      <a16:colId xmlns:a16="http://schemas.microsoft.com/office/drawing/2014/main" val="201768552"/>
                    </a:ext>
                  </a:extLst>
                </a:gridCol>
                <a:gridCol w="6263372">
                  <a:extLst>
                    <a:ext uri="{9D8B030D-6E8A-4147-A177-3AD203B41FA5}">
                      <a16:colId xmlns:a16="http://schemas.microsoft.com/office/drawing/2014/main" val="4136352114"/>
                    </a:ext>
                  </a:extLst>
                </a:gridCol>
                <a:gridCol w="3818477">
                  <a:extLst>
                    <a:ext uri="{9D8B030D-6E8A-4147-A177-3AD203B41FA5}">
                      <a16:colId xmlns:a16="http://schemas.microsoft.com/office/drawing/2014/main" val="674538973"/>
                    </a:ext>
                  </a:extLst>
                </a:gridCol>
              </a:tblGrid>
              <a:tr h="780057">
                <a:tc>
                  <a:txBody>
                    <a:bodyPr/>
                    <a:lstStyle/>
                    <a:p>
                      <a:pPr algn="ctr"/>
                      <a:r>
                        <a:rPr lang="en-US" sz="1300" dirty="0"/>
                        <a:t>Phase</a:t>
                      </a:r>
                    </a:p>
                  </a:txBody>
                  <a:tcPr anchor="ctr">
                    <a:solidFill>
                      <a:schemeClr val="accent6">
                        <a:lumMod val="90000"/>
                      </a:schemeClr>
                    </a:solidFill>
                  </a:tcPr>
                </a:tc>
                <a:tc>
                  <a:txBody>
                    <a:bodyPr/>
                    <a:lstStyle/>
                    <a:p>
                      <a:pPr algn="ctr"/>
                      <a:r>
                        <a:rPr lang="en-US" sz="1300" dirty="0"/>
                        <a:t>Description </a:t>
                      </a:r>
                      <a:endParaRPr lang="en-US" sz="1300" dirty="0">
                        <a:latin typeface="+mn-lt"/>
                      </a:endParaRPr>
                    </a:p>
                  </a:txBody>
                  <a:tcPr anchor="ctr">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t>One Time Professional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t>(USD)</a:t>
                      </a:r>
                      <a:endParaRPr lang="en-SG" sz="1300" dirty="0"/>
                    </a:p>
                    <a:p>
                      <a:pPr algn="ctr"/>
                      <a:endParaRPr lang="en-US" sz="1300" baseline="30000">
                        <a:latin typeface="+mn-lt"/>
                      </a:endParaRPr>
                    </a:p>
                  </a:txBody>
                  <a:tcPr anchor="ctr">
                    <a:solidFill>
                      <a:schemeClr val="accent6">
                        <a:lumMod val="90000"/>
                      </a:schemeClr>
                    </a:solidFill>
                  </a:tcPr>
                </a:tc>
                <a:extLst>
                  <a:ext uri="{0D108BD9-81ED-4DB2-BD59-A6C34878D82A}">
                    <a16:rowId xmlns:a16="http://schemas.microsoft.com/office/drawing/2014/main" val="1468428689"/>
                  </a:ext>
                </a:extLst>
              </a:tr>
              <a:tr h="484900">
                <a:tc>
                  <a:txBody>
                    <a:bodyPr/>
                    <a:lstStyle/>
                    <a:p>
                      <a:pPr algn="ctr"/>
                      <a:r>
                        <a:rPr lang="en-US" sz="1300" b="0" i="0" u="none" strike="noStrike" kern="1200" dirty="0">
                          <a:solidFill>
                            <a:srgbClr val="000000"/>
                          </a:solidFill>
                          <a:latin typeface="Aptos Narrow"/>
                          <a:ea typeface="+mn-ea"/>
                          <a:cs typeface="+mn-cs"/>
                        </a:rPr>
                        <a:t>1.</a:t>
                      </a:r>
                    </a:p>
                  </a:txBody>
                  <a:tcPr anchor="ctr">
                    <a:solidFill>
                      <a:schemeClr val="bg1">
                        <a:lumMod val="95000"/>
                      </a:schemeClr>
                    </a:solidFill>
                  </a:tcPr>
                </a:tc>
                <a:tc>
                  <a:txBody>
                    <a:bodyPr/>
                    <a:lstStyle/>
                    <a:p>
                      <a:pPr lvl="0">
                        <a:buNone/>
                      </a:pPr>
                      <a:r>
                        <a:rPr lang="en-US" sz="1300" b="0" i="0" u="none" strike="noStrike" noProof="0" dirty="0">
                          <a:solidFill>
                            <a:srgbClr val="000000"/>
                          </a:solidFill>
                          <a:latin typeface="Aptos Narrow"/>
                        </a:rPr>
                        <a:t>PHASE 1</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kern="1200" dirty="0">
                          <a:solidFill>
                            <a:schemeClr val="dk1"/>
                          </a:solidFill>
                        </a:rPr>
                        <a:t>$29,252</a:t>
                      </a:r>
                      <a:endParaRPr lang="en-US" sz="1300" b="1"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526120113"/>
                  </a:ext>
                </a:extLst>
              </a:tr>
              <a:tr h="484900">
                <a:tc>
                  <a:txBody>
                    <a:bodyPr/>
                    <a:lstStyle/>
                    <a:p>
                      <a:pPr lvl="0" algn="ctr">
                        <a:buNone/>
                      </a:pPr>
                      <a:r>
                        <a:rPr lang="en-US" sz="1300" b="0" i="0" u="none" strike="noStrike" kern="1200" dirty="0">
                          <a:solidFill>
                            <a:srgbClr val="000000"/>
                          </a:solidFill>
                          <a:latin typeface="Aptos Narrow"/>
                          <a:ea typeface="+mn-ea"/>
                          <a:cs typeface="+mn-cs"/>
                        </a:rPr>
                        <a:t>2.</a:t>
                      </a:r>
                    </a:p>
                  </a:txBody>
                  <a:tcPr anchor="ctr">
                    <a:solidFill>
                      <a:schemeClr val="bg1">
                        <a:lumMod val="95000"/>
                      </a:schemeClr>
                    </a:solidFill>
                  </a:tcPr>
                </a:tc>
                <a:tc>
                  <a:txBody>
                    <a:bodyPr/>
                    <a:lstStyle/>
                    <a:p>
                      <a:pPr lvl="0">
                        <a:buNone/>
                      </a:pPr>
                      <a:r>
                        <a:rPr lang="en-US" sz="1300" b="0" i="0" u="none" strike="noStrike" noProof="0" dirty="0">
                          <a:solidFill>
                            <a:srgbClr val="000000"/>
                          </a:solidFill>
                          <a:latin typeface="Aptos Narrow"/>
                        </a:rPr>
                        <a:t>PHASE 2</a:t>
                      </a:r>
                    </a:p>
                  </a:txBody>
                  <a:tcPr anchor="ctr">
                    <a:solidFill>
                      <a:schemeClr val="bg1">
                        <a:lumMod val="95000"/>
                      </a:schemeClr>
                    </a:solidFill>
                  </a:tcPr>
                </a:tc>
                <a:tc>
                  <a:txBody>
                    <a:bodyPr/>
                    <a:lstStyle/>
                    <a:p>
                      <a:pPr lvl="0" algn="ctr">
                        <a:lnSpc>
                          <a:spcPct val="100000"/>
                        </a:lnSpc>
                        <a:spcBef>
                          <a:spcPts val="0"/>
                        </a:spcBef>
                        <a:spcAft>
                          <a:spcPts val="0"/>
                        </a:spcAft>
                        <a:buNone/>
                      </a:pPr>
                      <a:r>
                        <a:rPr lang="en-US" sz="1300" b="1" i="0" u="none" strike="noStrike" kern="1200" noProof="0" dirty="0">
                          <a:solidFill>
                            <a:schemeClr val="dk1"/>
                          </a:solidFill>
                          <a:latin typeface="Arial"/>
                        </a:rPr>
                        <a:t>$16,000</a:t>
                      </a:r>
                      <a:endParaRPr lang="en-US" sz="1300" b="0" i="0" u="none" strike="noStrike" kern="1200" noProof="0" dirty="0">
                        <a:solidFill>
                          <a:srgbClr val="000000"/>
                        </a:solidFill>
                        <a:latin typeface="Arial"/>
                      </a:endParaRPr>
                    </a:p>
                  </a:txBody>
                  <a:tcPr anchor="ctr">
                    <a:solidFill>
                      <a:schemeClr val="bg1">
                        <a:lumMod val="95000"/>
                      </a:schemeClr>
                    </a:solidFill>
                  </a:tcPr>
                </a:tc>
                <a:extLst>
                  <a:ext uri="{0D108BD9-81ED-4DB2-BD59-A6C34878D82A}">
                    <a16:rowId xmlns:a16="http://schemas.microsoft.com/office/drawing/2014/main" val="3241682275"/>
                  </a:ext>
                </a:extLst>
              </a:tr>
              <a:tr h="484900">
                <a:tc>
                  <a:txBody>
                    <a:bodyPr/>
                    <a:lstStyle/>
                    <a:p>
                      <a:pPr lvl="0" algn="ctr">
                        <a:buNone/>
                      </a:pPr>
                      <a:endParaRPr lang="en-US" sz="1300" b="0" i="0" u="none" strike="noStrike" kern="1200" dirty="0">
                        <a:solidFill>
                          <a:srgbClr val="000000"/>
                        </a:solidFill>
                        <a:latin typeface="Aptos Narrow"/>
                        <a:ea typeface="+mn-ea"/>
                        <a:cs typeface="+mn-cs"/>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i="0" u="none" strike="noStrike" noProof="0" dirty="0">
                          <a:solidFill>
                            <a:schemeClr val="tx2"/>
                          </a:solidFill>
                          <a:latin typeface="Aptos Narrow"/>
                        </a:rPr>
                        <a:t>TOTAL PRICING</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kern="1200" noProof="0" dirty="0">
                          <a:solidFill>
                            <a:schemeClr val="tx2"/>
                          </a:solidFill>
                          <a:latin typeface="+mn-lt"/>
                          <a:ea typeface="+mn-ea"/>
                          <a:cs typeface="+mn-cs"/>
                        </a:rPr>
                        <a:t>$45,252</a:t>
                      </a:r>
                    </a:p>
                  </a:txBody>
                  <a:tcPr anchor="ctr">
                    <a:solidFill>
                      <a:schemeClr val="bg1">
                        <a:lumMod val="95000"/>
                      </a:schemeClr>
                    </a:solidFill>
                  </a:tcPr>
                </a:tc>
                <a:extLst>
                  <a:ext uri="{0D108BD9-81ED-4DB2-BD59-A6C34878D82A}">
                    <a16:rowId xmlns:a16="http://schemas.microsoft.com/office/drawing/2014/main" val="1790333039"/>
                  </a:ext>
                </a:extLst>
              </a:tr>
            </a:tbl>
          </a:graphicData>
        </a:graphic>
      </p:graphicFrame>
      <p:sp>
        <p:nvSpPr>
          <p:cNvPr id="12" name="TextBox 11">
            <a:extLst>
              <a:ext uri="{FF2B5EF4-FFF2-40B4-BE49-F238E27FC236}">
                <a16:creationId xmlns:a16="http://schemas.microsoft.com/office/drawing/2014/main" id="{E2F6151F-7057-3898-4A1C-0EC8D1C4E1A8}"/>
              </a:ext>
            </a:extLst>
          </p:cNvPr>
          <p:cNvSpPr txBox="1"/>
          <p:nvPr/>
        </p:nvSpPr>
        <p:spPr>
          <a:xfrm>
            <a:off x="479424" y="6136977"/>
            <a:ext cx="11097063" cy="230832"/>
          </a:xfrm>
          <a:prstGeom prst="rect">
            <a:avLst/>
          </a:prstGeom>
          <a:noFill/>
        </p:spPr>
        <p:txBody>
          <a:bodyPr wrap="square">
            <a:spAutoFit/>
          </a:bodyPr>
          <a:lstStyle/>
          <a:p>
            <a:pPr marL="0" marR="0" lvl="0" indent="0" defTabSz="892535" rtl="0" eaLnBrk="1" fontAlgn="auto" latinLnBrk="0" hangingPunct="1">
              <a:lnSpc>
                <a:spcPct val="100000"/>
              </a:lnSpc>
              <a:spcBef>
                <a:spcPts val="400"/>
              </a:spcBef>
              <a:spcAft>
                <a:spcPts val="600"/>
              </a:spcAft>
              <a:buClr>
                <a:srgbClr val="3E00FF"/>
              </a:buClr>
              <a:buSzPct val="100000"/>
              <a:buFontTx/>
              <a:buNone/>
              <a:tabLst/>
              <a:defRPr/>
            </a:pPr>
            <a:r>
              <a:rPr kumimoji="0" lang="en-AU" altLang="ko-KR" sz="900" b="0" i="1" u="none" strike="noStrike" kern="1200" cap="none" spc="0" normalizeH="0" baseline="0" noProof="0">
                <a:ln>
                  <a:noFill/>
                </a:ln>
                <a:solidFill>
                  <a:prstClr val="black"/>
                </a:solidFill>
                <a:effectLst/>
                <a:uLnTx/>
                <a:uFillTx/>
                <a:latin typeface="+mj-lt"/>
                <a:ea typeface="+mn-ea"/>
                <a:cs typeface="+mn-cs"/>
              </a:rPr>
              <a:t>All costs exclude GST</a:t>
            </a:r>
          </a:p>
        </p:txBody>
      </p:sp>
    </p:spTree>
    <p:extLst>
      <p:ext uri="{BB962C8B-B14F-4D97-AF65-F5344CB8AC3E}">
        <p14:creationId xmlns:p14="http://schemas.microsoft.com/office/powerpoint/2010/main" val="1695687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B5BF3-CBC7-34FD-3CEA-77111A7E1C45}"/>
              </a:ext>
            </a:extLst>
          </p:cNvPr>
          <p:cNvSpPr>
            <a:spLocks noGrp="1"/>
          </p:cNvSpPr>
          <p:nvPr>
            <p:ph type="title"/>
          </p:nvPr>
        </p:nvSpPr>
        <p:spPr/>
        <p:txBody>
          <a:bodyPr/>
          <a:lstStyle/>
          <a:p>
            <a:r>
              <a:rPr lang="en-GB" noProof="0"/>
              <a:t>Thank You</a:t>
            </a:r>
          </a:p>
        </p:txBody>
      </p:sp>
      <p:sp>
        <p:nvSpPr>
          <p:cNvPr id="3" name="Text Placeholder 2">
            <a:extLst>
              <a:ext uri="{FF2B5EF4-FFF2-40B4-BE49-F238E27FC236}">
                <a16:creationId xmlns:a16="http://schemas.microsoft.com/office/drawing/2014/main" id="{09E35372-AED6-B864-CFE5-E826B732DEA2}"/>
              </a:ext>
            </a:extLst>
          </p:cNvPr>
          <p:cNvSpPr>
            <a:spLocks noGrp="1"/>
          </p:cNvSpPr>
          <p:nvPr>
            <p:ph type="body" sz="quarter" idx="10"/>
          </p:nvPr>
        </p:nvSpPr>
        <p:spPr/>
        <p:txBody>
          <a:bodyPr/>
          <a:lstStyle/>
          <a:p>
            <a:endParaRPr lang="en-AU"/>
          </a:p>
        </p:txBody>
      </p:sp>
      <p:sp>
        <p:nvSpPr>
          <p:cNvPr id="4" name="Text Placeholder 3">
            <a:extLst>
              <a:ext uri="{FF2B5EF4-FFF2-40B4-BE49-F238E27FC236}">
                <a16:creationId xmlns:a16="http://schemas.microsoft.com/office/drawing/2014/main" id="{56FB776B-2091-543D-5860-5D4320719C1B}"/>
              </a:ext>
            </a:extLst>
          </p:cNvPr>
          <p:cNvSpPr>
            <a:spLocks noGrp="1"/>
          </p:cNvSpPr>
          <p:nvPr>
            <p:ph type="body" sz="quarter" idx="11"/>
          </p:nvPr>
        </p:nvSpPr>
        <p:spPr/>
        <p:txBody>
          <a:bodyPr/>
          <a:lstStyle/>
          <a:p>
            <a:endParaRPr lang="en-AU"/>
          </a:p>
        </p:txBody>
      </p:sp>
    </p:spTree>
    <p:extLst>
      <p:ext uri="{BB962C8B-B14F-4D97-AF65-F5344CB8AC3E}">
        <p14:creationId xmlns:p14="http://schemas.microsoft.com/office/powerpoint/2010/main" val="1101578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04BBDA-05B2-A8BC-A6F8-D2DCC4C75FDA}"/>
              </a:ext>
            </a:extLst>
          </p:cNvPr>
          <p:cNvSpPr>
            <a:spLocks noGrp="1"/>
          </p:cNvSpPr>
          <p:nvPr>
            <p:ph type="title"/>
          </p:nvPr>
        </p:nvSpPr>
        <p:spPr>
          <a:xfrm>
            <a:off x="263155" y="904678"/>
            <a:ext cx="5978254" cy="2108517"/>
          </a:xfrm>
        </p:spPr>
        <p:txBody>
          <a:bodyPr/>
          <a:lstStyle/>
          <a:p>
            <a:r>
              <a:rPr lang="en-US" b="1"/>
              <a:t>Our Understanding of </a:t>
            </a:r>
            <a:r>
              <a:rPr lang="en-US"/>
              <a:t>Y</a:t>
            </a:r>
            <a:r>
              <a:rPr lang="en-US" b="1"/>
              <a:t>our Requirements</a:t>
            </a:r>
            <a:endParaRPr lang="en-AU" b="1"/>
          </a:p>
        </p:txBody>
      </p:sp>
      <p:pic>
        <p:nvPicPr>
          <p:cNvPr id="9" name="Picture Placeholder 8">
            <a:extLst>
              <a:ext uri="{FF2B5EF4-FFF2-40B4-BE49-F238E27FC236}">
                <a16:creationId xmlns:a16="http://schemas.microsoft.com/office/drawing/2014/main" id="{C0D64082-4774-5790-698A-A46DF564C5F9}"/>
              </a:ext>
            </a:extLst>
          </p:cNvPr>
          <p:cNvPicPr>
            <a:picLocks noGrp="1" noChangeAspect="1"/>
          </p:cNvPicPr>
          <p:nvPr>
            <p:ph type="pic" sz="quarter" idx="43"/>
          </p:nvPr>
        </p:nvPicPr>
        <p:blipFill>
          <a:blip r:embed="rId2" cstate="screen">
            <a:extLst>
              <a:ext uri="{28A0092B-C50C-407E-A947-70E740481C1C}">
                <a14:useLocalDpi xmlns:a14="http://schemas.microsoft.com/office/drawing/2010/main"/>
              </a:ext>
            </a:extLst>
          </a:blip>
          <a:srcRect l="16671" r="16671"/>
          <a:stretch/>
        </p:blipFill>
        <p:spPr>
          <a:xfrm>
            <a:off x="6096000" y="624686"/>
            <a:ext cx="5715262" cy="5715262"/>
          </a:xfrm>
        </p:spPr>
      </p:pic>
    </p:spTree>
    <p:extLst>
      <p:ext uri="{BB962C8B-B14F-4D97-AF65-F5344CB8AC3E}">
        <p14:creationId xmlns:p14="http://schemas.microsoft.com/office/powerpoint/2010/main" val="3705250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colorful swirly waves&#10;&#10;Description automatically generated with medium confidence">
            <a:extLst>
              <a:ext uri="{FF2B5EF4-FFF2-40B4-BE49-F238E27FC236}">
                <a16:creationId xmlns:a16="http://schemas.microsoft.com/office/drawing/2014/main" id="{7A8F4509-E7A1-5D44-D55C-7888CBF38B00}"/>
              </a:ext>
            </a:extLst>
          </p:cNvPr>
          <p:cNvPicPr>
            <a:picLocks noChangeAspect="1"/>
          </p:cNvPicPr>
          <p:nvPr/>
        </p:nvPicPr>
        <p:blipFill rotWithShape="1">
          <a:blip r:embed="rId4">
            <a:extLst>
              <a:ext uri="{28A0092B-C50C-407E-A947-70E740481C1C}">
                <a14:useLocalDpi xmlns:a14="http://schemas.microsoft.com/office/drawing/2010/main" val="0"/>
              </a:ext>
            </a:extLst>
          </a:blip>
          <a:srcRect r="38749" b="3295"/>
          <a:stretch/>
        </p:blipFill>
        <p:spPr>
          <a:xfrm>
            <a:off x="5099183" y="138818"/>
            <a:ext cx="7092817" cy="6719182"/>
          </a:xfrm>
          <a:prstGeom prst="rect">
            <a:avLst/>
          </a:prstGeom>
        </p:spPr>
      </p:pic>
      <p:sp>
        <p:nvSpPr>
          <p:cNvPr id="13" name="Text Placeholder 12">
            <a:extLst>
              <a:ext uri="{FF2B5EF4-FFF2-40B4-BE49-F238E27FC236}">
                <a16:creationId xmlns:a16="http://schemas.microsoft.com/office/drawing/2014/main" id="{5B30C938-FB9A-EE3D-1F29-9E40D8855CD7}"/>
              </a:ext>
            </a:extLst>
          </p:cNvPr>
          <p:cNvSpPr>
            <a:spLocks noGrp="1"/>
          </p:cNvSpPr>
          <p:nvPr>
            <p:ph type="body" sz="quarter" idx="35"/>
          </p:nvPr>
        </p:nvSpPr>
        <p:spPr/>
        <p:txBody>
          <a:bodyPr/>
          <a:lstStyle/>
          <a:p>
            <a:endParaRPr lang="en-AU"/>
          </a:p>
        </p:txBody>
      </p:sp>
      <p:sp>
        <p:nvSpPr>
          <p:cNvPr id="4" name="Title 3">
            <a:extLst>
              <a:ext uri="{FF2B5EF4-FFF2-40B4-BE49-F238E27FC236}">
                <a16:creationId xmlns:a16="http://schemas.microsoft.com/office/drawing/2014/main" id="{9B9BE1EE-3D18-91F3-96C8-2FC2BD33CA3B}"/>
              </a:ext>
            </a:extLst>
          </p:cNvPr>
          <p:cNvSpPr>
            <a:spLocks noGrp="1"/>
          </p:cNvSpPr>
          <p:nvPr>
            <p:ph type="title"/>
          </p:nvPr>
        </p:nvSpPr>
        <p:spPr/>
        <p:txBody>
          <a:bodyPr/>
          <a:lstStyle/>
          <a:p>
            <a:r>
              <a:rPr lang="en-GB" noProof="0" err="1"/>
              <a:t>SoftwareOne</a:t>
            </a:r>
            <a:r>
              <a:rPr lang="en-GB" noProof="0"/>
              <a:t> Understanding</a:t>
            </a:r>
          </a:p>
        </p:txBody>
      </p:sp>
      <p:sp>
        <p:nvSpPr>
          <p:cNvPr id="10" name="Text Placeholder 7">
            <a:extLst>
              <a:ext uri="{FF2B5EF4-FFF2-40B4-BE49-F238E27FC236}">
                <a16:creationId xmlns:a16="http://schemas.microsoft.com/office/drawing/2014/main" id="{DAD97A14-19FB-D8ED-AC8F-FEAE798901D6}"/>
              </a:ext>
            </a:extLst>
          </p:cNvPr>
          <p:cNvSpPr txBox="1">
            <a:spLocks/>
          </p:cNvSpPr>
          <p:nvPr/>
        </p:nvSpPr>
        <p:spPr>
          <a:xfrm>
            <a:off x="479425" y="1609718"/>
            <a:ext cx="6326728" cy="4730230"/>
          </a:xfrm>
          <a:prstGeom prst="rect">
            <a:avLst/>
          </a:prstGeom>
        </p:spPr>
        <p:txBody>
          <a:bodyPr lIns="0" tIns="0" rIns="0" bIns="0" anchor="t"/>
          <a:lstStyle>
            <a:lvl1pPr marL="0" indent="0" algn="l" defTabSz="914400" rtl="0" eaLnBrk="1" latinLnBrk="0" hangingPunct="1">
              <a:lnSpc>
                <a:spcPct val="100000"/>
              </a:lnSpc>
              <a:spcBef>
                <a:spcPts val="0"/>
              </a:spcBef>
              <a:spcAft>
                <a:spcPts val="1800"/>
              </a:spcAft>
              <a:buFont typeface="Arial" panose="020B0604020202020204" pitchFamily="34" charset="0"/>
              <a:buNone/>
              <a:defRPr sz="1400" b="0" kern="120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ClrTx/>
              <a:buFont typeface="Arial" panose="020B0604020202020204" pitchFamily="34" charset="0"/>
              <a:buChar char="•"/>
              <a:tabLst>
                <a:tab pos="180000" algn="l"/>
              </a:tabLst>
              <a:defRPr sz="1400" kern="1200">
                <a:solidFill>
                  <a:schemeClr val="tx1"/>
                </a:solidFill>
                <a:latin typeface="+mn-lt"/>
                <a:ea typeface="+mn-ea"/>
                <a:cs typeface="+mn-cs"/>
              </a:defRPr>
            </a:lvl2pPr>
            <a:lvl3pPr marL="360363" indent="-180000" algn="l" defTabSz="914400" rtl="0" eaLnBrk="1" latinLnBrk="0" hangingPunct="1">
              <a:lnSpc>
                <a:spcPct val="100000"/>
              </a:lnSpc>
              <a:spcBef>
                <a:spcPts val="300"/>
              </a:spcBef>
              <a:spcAft>
                <a:spcPts val="600"/>
              </a:spcAft>
              <a:buClrTx/>
              <a:buFont typeface="Arial" panose="020B0604020202020204" pitchFamily="34" charset="0"/>
              <a:buChar char="•"/>
              <a:tabLst>
                <a:tab pos="360000" algn="l"/>
              </a:tabLst>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ClrTx/>
              <a:buFont typeface="Airal" pitchFamily="2" charset="0"/>
              <a:buNone/>
              <a:tabLst/>
              <a:defRPr sz="1200" kern="1200">
                <a:solidFill>
                  <a:schemeClr val="accent1"/>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GB" sz="1200" b="1" dirty="0">
                <a:solidFill>
                  <a:schemeClr val="accent1"/>
                </a:solidFill>
                <a:latin typeface="+mn-lt"/>
              </a:rPr>
              <a:t>Use Case</a:t>
            </a:r>
            <a:endParaRPr lang="en-GB" sz="1200" b="1" dirty="0">
              <a:solidFill>
                <a:schemeClr val="accent1"/>
              </a:solidFill>
              <a:latin typeface="+mn-lt"/>
              <a:cs typeface="Arial"/>
            </a:endParaRPr>
          </a:p>
          <a:p>
            <a:pPr algn="l"/>
            <a:r>
              <a:rPr lang="en-SG" sz="1200" dirty="0" err="1">
                <a:latin typeface="+mn-lt"/>
                <a:ea typeface="+mj-lt"/>
                <a:cs typeface="+mj-lt"/>
              </a:rPr>
              <a:t>Furama</a:t>
            </a:r>
            <a:r>
              <a:rPr lang="en-SG" sz="1200" dirty="0">
                <a:latin typeface="+mn-lt"/>
                <a:ea typeface="+mj-lt"/>
                <a:cs typeface="+mj-lt"/>
              </a:rPr>
              <a:t> aims to enhance user experience by replacing its existing chatbot with a more advanced chatbot assistant powered by Generative AI (Gen AI). The goal of this project is to develop a customer-facing chatbot that can effectively handle common inquiries related to hotel bookings, such as whether breakfast is included. The chatbot will utilize AWS technology to leverage advanced natural language processing capabilities, allowing it to generate contextually relevant responses based on propriety data and integrate to get information from the Reservation Management System (RMS)</a:t>
            </a:r>
          </a:p>
          <a:p>
            <a:pPr algn="l"/>
            <a:r>
              <a:rPr lang="en-SG" sz="1200" dirty="0">
                <a:solidFill>
                  <a:schemeClr val="tx2"/>
                </a:solidFill>
                <a:latin typeface="+mn-lt"/>
                <a:ea typeface="+mj-lt"/>
                <a:cs typeface="+mj-lt"/>
              </a:rPr>
              <a:t>	Phase 1: </a:t>
            </a:r>
            <a:r>
              <a:rPr lang="en-SG" sz="1200" dirty="0">
                <a:latin typeface="+mn-lt"/>
                <a:ea typeface="+mj-lt"/>
                <a:cs typeface="+mj-lt"/>
              </a:rPr>
              <a:t>The chatbot will initially focus on answering simple questions by utilizing a knowledge base built from the company's website QA, internal documents etc. This phase aims to reduce the workload on customer service agents by automating responses to frequently asked questions.</a:t>
            </a:r>
          </a:p>
          <a:p>
            <a:pPr algn="l"/>
            <a:r>
              <a:rPr lang="en-SG" sz="1200" dirty="0">
                <a:latin typeface="+mn-lt"/>
                <a:ea typeface="+mj-lt"/>
                <a:cs typeface="+mj-lt"/>
              </a:rPr>
              <a:t>	</a:t>
            </a:r>
            <a:r>
              <a:rPr lang="en-SG" sz="1200" dirty="0">
                <a:solidFill>
                  <a:schemeClr val="tx2"/>
                </a:solidFill>
                <a:latin typeface="+mn-lt"/>
                <a:ea typeface="+mj-lt"/>
                <a:cs typeface="+mj-lt"/>
              </a:rPr>
              <a:t>Phase 2: </a:t>
            </a:r>
            <a:r>
              <a:rPr lang="en-SG" sz="1200" dirty="0">
                <a:latin typeface="+mn-lt"/>
                <a:ea typeface="+mj-lt"/>
                <a:cs typeface="+mj-lt"/>
              </a:rPr>
              <a:t>The chatbot will be integrated with the RMS, enabling it to access to booking data and provide more detailed answers, such as checking specific booking details etc.</a:t>
            </a:r>
          </a:p>
          <a:p>
            <a:pPr>
              <a:spcAft>
                <a:spcPts val="600"/>
              </a:spcAft>
            </a:pPr>
            <a:endParaRPr lang="en-SG" sz="1200" dirty="0">
              <a:latin typeface="+mn-lt"/>
              <a:ea typeface="+mj-lt"/>
              <a:cs typeface="+mj-lt"/>
            </a:endParaRPr>
          </a:p>
        </p:txBody>
      </p:sp>
      <p:sp>
        <p:nvSpPr>
          <p:cNvPr id="11" name="Content Placeholder 4">
            <a:extLst>
              <a:ext uri="{FF2B5EF4-FFF2-40B4-BE49-F238E27FC236}">
                <a16:creationId xmlns:a16="http://schemas.microsoft.com/office/drawing/2014/main" id="{72095536-C5C8-58BE-7A8F-64728D896CCB}"/>
              </a:ext>
            </a:extLst>
          </p:cNvPr>
          <p:cNvSpPr txBox="1">
            <a:spLocks/>
          </p:cNvSpPr>
          <p:nvPr/>
        </p:nvSpPr>
        <p:spPr>
          <a:xfrm>
            <a:off x="479425" y="1121082"/>
            <a:ext cx="5387975" cy="297717"/>
          </a:xfrm>
          <a:prstGeom prst="rect">
            <a:avLst/>
          </a:prstGeom>
        </p:spPr>
        <p:txBody>
          <a:bodyPr lIns="0" tIns="0" rIns="0" bIns="0" anchor="t"/>
          <a:lstStyle>
            <a:lvl1pPr marL="0" indent="0" algn="l" defTabSz="914400" rtl="0" eaLnBrk="1" latinLnBrk="0" hangingPunct="1">
              <a:lnSpc>
                <a:spcPct val="100000"/>
              </a:lnSpc>
              <a:spcBef>
                <a:spcPts val="0"/>
              </a:spcBef>
              <a:spcAft>
                <a:spcPts val="1800"/>
              </a:spcAft>
              <a:buFont typeface="Arial" panose="020B0604020202020204" pitchFamily="34" charset="0"/>
              <a:buNone/>
              <a:defRPr sz="1400" b="0" kern="120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ClrTx/>
              <a:buFont typeface="Arial" panose="020B0604020202020204" pitchFamily="34" charset="0"/>
              <a:buChar char="•"/>
              <a:tabLst>
                <a:tab pos="180000" algn="l"/>
              </a:tabLst>
              <a:defRPr sz="1400" kern="1200">
                <a:solidFill>
                  <a:schemeClr val="tx1"/>
                </a:solidFill>
                <a:latin typeface="+mn-lt"/>
                <a:ea typeface="+mn-ea"/>
                <a:cs typeface="+mn-cs"/>
              </a:defRPr>
            </a:lvl2pPr>
            <a:lvl3pPr marL="360363" indent="-180000" algn="l" defTabSz="914400" rtl="0" eaLnBrk="1" latinLnBrk="0" hangingPunct="1">
              <a:lnSpc>
                <a:spcPct val="100000"/>
              </a:lnSpc>
              <a:spcBef>
                <a:spcPts val="300"/>
              </a:spcBef>
              <a:spcAft>
                <a:spcPts val="600"/>
              </a:spcAft>
              <a:buClrTx/>
              <a:buFont typeface="Arial" panose="020B0604020202020204" pitchFamily="34" charset="0"/>
              <a:buChar char="•"/>
              <a:tabLst>
                <a:tab pos="360000" algn="l"/>
              </a:tabLst>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ClrTx/>
              <a:buFont typeface="Airal" pitchFamily="2" charset="0"/>
              <a:buNone/>
              <a:tabLst/>
              <a:defRPr sz="1200" kern="1200">
                <a:solidFill>
                  <a:schemeClr val="accent1"/>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n-lt"/>
              </a:rPr>
              <a:t>Requirements</a:t>
            </a:r>
            <a:endParaRPr lang="en-GB" dirty="0">
              <a:latin typeface="+mn-lt"/>
            </a:endParaRPr>
          </a:p>
        </p:txBody>
      </p:sp>
      <p:sp>
        <p:nvSpPr>
          <p:cNvPr id="3" name="Slide Number Placeholder 5">
            <a:extLst>
              <a:ext uri="{FF2B5EF4-FFF2-40B4-BE49-F238E27FC236}">
                <a16:creationId xmlns:a16="http://schemas.microsoft.com/office/drawing/2014/main" id="{87366E96-2A53-6860-B65C-73CF15160569}"/>
              </a:ext>
            </a:extLst>
          </p:cNvPr>
          <p:cNvSpPr txBox="1">
            <a:spLocks/>
          </p:cNvSpPr>
          <p:nvPr/>
        </p:nvSpPr>
        <p:spPr>
          <a:xfrm>
            <a:off x="479425" y="6339948"/>
            <a:ext cx="173038" cy="169200"/>
          </a:xfrm>
          <a:prstGeom prst="rect">
            <a:avLst/>
          </a:prstGeom>
        </p:spPr>
        <p:txBody>
          <a:bodyPr lIns="0" tIns="0" rIns="0" bIns="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C2AD82-1025-4508-97C1-6F7EE5C92734}" type="slidenum">
              <a:rPr lang="en-GB" sz="800" smtClean="0"/>
              <a:pPr/>
              <a:t>3</a:t>
            </a:fld>
            <a:endParaRPr lang="en-GB" sz="800"/>
          </a:p>
        </p:txBody>
      </p:sp>
    </p:spTree>
    <p:extLst>
      <p:ext uri="{BB962C8B-B14F-4D97-AF65-F5344CB8AC3E}">
        <p14:creationId xmlns:p14="http://schemas.microsoft.com/office/powerpoint/2010/main" val="3049288184"/>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A2A1F-7B79-FA26-C63E-6EEED3E8888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6A0544-EB77-279E-AA29-24570C206BA8}"/>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4</a:t>
            </a:fld>
            <a:endParaRPr lang="en-AU"/>
          </a:p>
        </p:txBody>
      </p:sp>
      <p:sp>
        <p:nvSpPr>
          <p:cNvPr id="5" name="Title 4">
            <a:extLst>
              <a:ext uri="{FF2B5EF4-FFF2-40B4-BE49-F238E27FC236}">
                <a16:creationId xmlns:a16="http://schemas.microsoft.com/office/drawing/2014/main" id="{14E72FA9-4830-FC6B-E5AB-23D00BD05101}"/>
              </a:ext>
            </a:extLst>
          </p:cNvPr>
          <p:cNvSpPr>
            <a:spLocks noGrp="1"/>
          </p:cNvSpPr>
          <p:nvPr>
            <p:ph type="title"/>
          </p:nvPr>
        </p:nvSpPr>
        <p:spPr/>
        <p:txBody>
          <a:bodyPr/>
          <a:lstStyle/>
          <a:p>
            <a:r>
              <a:rPr lang="en-SG" dirty="0"/>
              <a:t>Existing Challenges</a:t>
            </a:r>
          </a:p>
        </p:txBody>
      </p:sp>
      <p:sp>
        <p:nvSpPr>
          <p:cNvPr id="11" name="Content Placeholder 5">
            <a:extLst>
              <a:ext uri="{FF2B5EF4-FFF2-40B4-BE49-F238E27FC236}">
                <a16:creationId xmlns:a16="http://schemas.microsoft.com/office/drawing/2014/main" id="{740BC91C-511B-F065-12D9-3A098E94328A}"/>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Requirements</a:t>
            </a:r>
            <a:endParaRPr lang="en-AU"/>
          </a:p>
        </p:txBody>
      </p:sp>
      <p:sp>
        <p:nvSpPr>
          <p:cNvPr id="2" name="Text Placeholder 5">
            <a:extLst>
              <a:ext uri="{FF2B5EF4-FFF2-40B4-BE49-F238E27FC236}">
                <a16:creationId xmlns:a16="http://schemas.microsoft.com/office/drawing/2014/main" id="{2DC57D6D-C8E6-F855-5F11-D90E477477CC}"/>
              </a:ext>
            </a:extLst>
          </p:cNvPr>
          <p:cNvSpPr txBox="1">
            <a:spLocks/>
          </p:cNvSpPr>
          <p:nvPr/>
        </p:nvSpPr>
        <p:spPr>
          <a:xfrm>
            <a:off x="479425" y="969449"/>
            <a:ext cx="11233150" cy="4922938"/>
          </a:xfrm>
          <a:custGeom>
            <a:avLst/>
            <a:gdLst>
              <a:gd name="connsiteX0" fmla="*/ 0 w 5295900"/>
              <a:gd name="connsiteY0" fmla="*/ 0 h 3795713"/>
              <a:gd name="connsiteX1" fmla="*/ 5295900 w 5295900"/>
              <a:gd name="connsiteY1" fmla="*/ 0 h 3795713"/>
              <a:gd name="connsiteX2" fmla="*/ 5295900 w 5295900"/>
              <a:gd name="connsiteY2" fmla="*/ 3795713 h 3795713"/>
              <a:gd name="connsiteX3" fmla="*/ 0 w 5295900"/>
              <a:gd name="connsiteY3" fmla="*/ 3795713 h 3795713"/>
            </a:gdLst>
            <a:ahLst/>
            <a:cxnLst>
              <a:cxn ang="0">
                <a:pos x="connsiteX0" y="connsiteY0"/>
              </a:cxn>
              <a:cxn ang="0">
                <a:pos x="connsiteX1" y="connsiteY1"/>
              </a:cxn>
              <a:cxn ang="0">
                <a:pos x="connsiteX2" y="connsiteY2"/>
              </a:cxn>
              <a:cxn ang="0">
                <a:pos x="connsiteX3" y="connsiteY3"/>
              </a:cxn>
            </a:cxnLst>
            <a:rect l="l" t="t" r="r" b="b"/>
            <a:pathLst>
              <a:path w="5295900" h="3795713">
                <a:moveTo>
                  <a:pt x="0" y="0"/>
                </a:moveTo>
                <a:lnTo>
                  <a:pt x="5295900" y="0"/>
                </a:lnTo>
                <a:lnTo>
                  <a:pt x="5295900" y="3795713"/>
                </a:lnTo>
                <a:lnTo>
                  <a:pt x="0" y="3795713"/>
                </a:lnTo>
                <a:close/>
              </a:path>
            </a:pathLst>
          </a:custGeom>
        </p:spPr>
        <p:txBody>
          <a:bodyPr wrap="square" lIns="91440" tIns="45720" rIns="91440" bIns="45720" anchor="t">
            <a:noAutofit/>
          </a:bodyPr>
          <a:lstStyle>
            <a:lvl1pPr marL="0" indent="0" algn="l" defTabSz="914400" rtl="0" eaLnBrk="1" latinLnBrk="0" hangingPunct="1">
              <a:lnSpc>
                <a:spcPct val="100000"/>
              </a:lnSpc>
              <a:spcBef>
                <a:spcPts val="0"/>
              </a:spcBef>
              <a:spcAft>
                <a:spcPts val="1800"/>
              </a:spcAft>
              <a:buFont typeface="Arial" panose="020B0604020202020204" pitchFamily="34" charset="0"/>
              <a:buNone/>
              <a:defRPr sz="1400" b="0" kern="120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0"/>
              </a:spcAft>
              <a:buClrTx/>
              <a:buFont typeface="Arial" panose="020B0604020202020204" pitchFamily="34" charset="0"/>
              <a:buChar char="›"/>
              <a:tabLst>
                <a:tab pos="180000" algn="l"/>
              </a:tabLst>
              <a:defRPr sz="1400" kern="1200">
                <a:solidFill>
                  <a:schemeClr val="tx1"/>
                </a:solidFill>
                <a:latin typeface="+mn-lt"/>
                <a:ea typeface="+mn-ea"/>
                <a:cs typeface="+mn-cs"/>
              </a:defRPr>
            </a:lvl2pPr>
            <a:lvl3pPr marL="360363" indent="-180000" algn="l" defTabSz="914400" rtl="0" eaLnBrk="1" latinLnBrk="0" hangingPunct="1">
              <a:lnSpc>
                <a:spcPct val="100000"/>
              </a:lnSpc>
              <a:spcBef>
                <a:spcPts val="300"/>
              </a:spcBef>
              <a:spcAft>
                <a:spcPts val="300"/>
              </a:spcAft>
              <a:buClrTx/>
              <a:buFont typeface="Arial" panose="020B0604020202020204" pitchFamily="34" charset="0"/>
              <a:buChar char="•"/>
              <a:tabLst>
                <a:tab pos="360000" algn="l"/>
              </a:tabLst>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ClrTx/>
              <a:buFont typeface="Airal" pitchFamily="2" charset="0"/>
              <a:buNone/>
              <a:tabLst/>
              <a:defRPr sz="1200" kern="1200">
                <a:solidFill>
                  <a:schemeClr val="accent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None/>
              <a:defRPr sz="12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har char="•"/>
            </a:pPr>
            <a:endParaRPr lang="en-US" sz="1200" dirty="0">
              <a:latin typeface="+mn-lt"/>
              <a:cs typeface="Arial"/>
            </a:endParaRPr>
          </a:p>
          <a:p>
            <a:pPr marL="522900" lvl="1" indent="-342900">
              <a:buFont typeface="Arial" panose="020B0604020202020204" pitchFamily="34" charset="0"/>
              <a:buChar char="•"/>
            </a:pPr>
            <a:r>
              <a:rPr lang="en-SG" sz="1200" dirty="0">
                <a:ea typeface="+mj-lt"/>
                <a:cs typeface="+mj-lt"/>
              </a:rPr>
              <a:t>Without the use of Large Language Models (LLMs) or generative AI, the chatbot lacks the ability to tailor responses based on individual user preferences or past interactions, resulting in a generic user experience</a:t>
            </a:r>
            <a:r>
              <a:rPr lang="en-SG" sz="1200" b="0" i="0" dirty="0">
                <a:effectLst/>
              </a:rPr>
              <a:t>.</a:t>
            </a:r>
          </a:p>
          <a:p>
            <a:pPr marL="522900" lvl="1" indent="-342900">
              <a:buFont typeface="Arial" panose="020B0604020202020204" pitchFamily="34" charset="0"/>
              <a:buChar char="•"/>
            </a:pPr>
            <a:r>
              <a:rPr lang="en-SG" sz="1200" dirty="0">
                <a:ea typeface="+mj-lt"/>
                <a:cs typeface="+mj-lt"/>
              </a:rPr>
              <a:t>The current system may not effectively integrate with internal data sources such as the (RMS),  limiting the chatbot's ability to provide information on room availability, pricing, and other relevant data. 	</a:t>
            </a:r>
          </a:p>
          <a:p>
            <a:endParaRPr lang="en-US" sz="1200" dirty="0">
              <a:solidFill>
                <a:srgbClr val="0D0D0D"/>
              </a:solidFill>
              <a:latin typeface="+mn-lt"/>
              <a:ea typeface="Calibri" panose="020F0502020204030204" pitchFamily="34" charset="0"/>
              <a:cs typeface="Arial"/>
            </a:endParaRPr>
          </a:p>
          <a:p>
            <a:pPr marL="342900" indent="-342900">
              <a:buAutoNum type="arabicPeriod"/>
            </a:pPr>
            <a:endParaRPr lang="en-US" sz="1200" dirty="0">
              <a:solidFill>
                <a:srgbClr val="0D0D0D"/>
              </a:solidFill>
              <a:latin typeface="+mn-lt"/>
              <a:ea typeface="Calibri" panose="020F0502020204030204" pitchFamily="34" charset="0"/>
              <a:cs typeface="Arial"/>
            </a:endParaRPr>
          </a:p>
          <a:p>
            <a:pPr marL="342900" indent="-342900">
              <a:buAutoNum type="arabicPeriod"/>
            </a:pPr>
            <a:endParaRPr lang="en-US" sz="1200" dirty="0">
              <a:solidFill>
                <a:srgbClr val="0D0D0D"/>
              </a:solidFill>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42054524"/>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A2A1F-7B79-FA26-C63E-6EEED3E8888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6A0544-EB77-279E-AA29-24570C206BA8}"/>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5</a:t>
            </a:fld>
            <a:endParaRPr lang="en-AU"/>
          </a:p>
        </p:txBody>
      </p:sp>
      <p:sp>
        <p:nvSpPr>
          <p:cNvPr id="5" name="Title 4">
            <a:extLst>
              <a:ext uri="{FF2B5EF4-FFF2-40B4-BE49-F238E27FC236}">
                <a16:creationId xmlns:a16="http://schemas.microsoft.com/office/drawing/2014/main" id="{14E72FA9-4830-FC6B-E5AB-23D00BD05101}"/>
              </a:ext>
            </a:extLst>
          </p:cNvPr>
          <p:cNvSpPr>
            <a:spLocks noGrp="1"/>
          </p:cNvSpPr>
          <p:nvPr>
            <p:ph type="title"/>
          </p:nvPr>
        </p:nvSpPr>
        <p:spPr/>
        <p:txBody>
          <a:bodyPr/>
          <a:lstStyle/>
          <a:p>
            <a:r>
              <a:rPr lang="en-SG"/>
              <a:t>Technical Requirements</a:t>
            </a:r>
            <a:endParaRPr lang="en-US"/>
          </a:p>
        </p:txBody>
      </p:sp>
      <p:sp>
        <p:nvSpPr>
          <p:cNvPr id="11" name="Content Placeholder 5">
            <a:extLst>
              <a:ext uri="{FF2B5EF4-FFF2-40B4-BE49-F238E27FC236}">
                <a16:creationId xmlns:a16="http://schemas.microsoft.com/office/drawing/2014/main" id="{740BC91C-511B-F065-12D9-3A098E94328A}"/>
              </a:ext>
            </a:extLst>
          </p:cNvPr>
          <p:cNvSpPr>
            <a:spLocks noGrp="1"/>
          </p:cNvSpPr>
          <p:nvPr>
            <p:ph idx="13"/>
          </p:nvPr>
        </p:nvSpPr>
        <p:spPr>
          <a:xfrm>
            <a:off x="479425" y="224477"/>
            <a:ext cx="11233150" cy="297717"/>
          </a:xfrm>
        </p:spPr>
        <p:txBody>
          <a:bodyPr vert="horz" lIns="0" tIns="0" rIns="0" bIns="0" rtlCol="0" anchor="t">
            <a:noAutofit/>
          </a:bodyPr>
          <a:lstStyle/>
          <a:p>
            <a:r>
              <a:rPr lang="en-AU">
                <a:cs typeface="Arial"/>
              </a:rPr>
              <a:t>Requirements</a:t>
            </a:r>
            <a:endParaRPr lang="en-AU"/>
          </a:p>
        </p:txBody>
      </p:sp>
      <p:sp>
        <p:nvSpPr>
          <p:cNvPr id="4" name="TextBox 3">
            <a:extLst>
              <a:ext uri="{FF2B5EF4-FFF2-40B4-BE49-F238E27FC236}">
                <a16:creationId xmlns:a16="http://schemas.microsoft.com/office/drawing/2014/main" id="{37808C38-3525-B53C-569A-833C84425368}"/>
              </a:ext>
            </a:extLst>
          </p:cNvPr>
          <p:cNvSpPr txBox="1"/>
          <p:nvPr/>
        </p:nvSpPr>
        <p:spPr>
          <a:xfrm>
            <a:off x="481208" y="1232770"/>
            <a:ext cx="11443061"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Font typeface="Arial" panose="020B0604020202020204" pitchFamily="34" charset="0"/>
              <a:buChar char="•"/>
            </a:pPr>
            <a:r>
              <a:rPr lang="en-SG" sz="1200" b="1" dirty="0">
                <a:solidFill>
                  <a:schemeClr val="tx2"/>
                </a:solidFill>
                <a:cs typeface="Calibri"/>
              </a:rPr>
              <a:t>Data Ingestion:</a:t>
            </a:r>
            <a:r>
              <a:rPr lang="en-SG" sz="1200" b="0" i="0" dirty="0">
                <a:effectLst/>
              </a:rPr>
              <a:t> A system for uploading and maintaining accurate information from various sources, including website content and other internal QA.</a:t>
            </a:r>
          </a:p>
          <a:p>
            <a:pPr marL="285750" indent="-285750">
              <a:buFont typeface="Arial" panose="020B0604020202020204" pitchFamily="34" charset="0"/>
              <a:buChar char="•"/>
            </a:pPr>
            <a:r>
              <a:rPr lang="en-SG" sz="1200" b="1" dirty="0">
                <a:solidFill>
                  <a:schemeClr val="tx2"/>
                </a:solidFill>
                <a:cs typeface="Calibri"/>
              </a:rPr>
              <a:t>User Interface : </a:t>
            </a:r>
            <a:r>
              <a:rPr lang="en-SG" sz="1200" b="0" i="0" dirty="0">
                <a:effectLst/>
              </a:rPr>
              <a:t>A user-friendly interface that allows customers to interact easily with the chatbot on the website. The new chatbot should be deployed on the customer website.</a:t>
            </a:r>
          </a:p>
          <a:p>
            <a:pPr marL="285750" indent="-285750">
              <a:buFont typeface="Arial" panose="020B0604020202020204" pitchFamily="34" charset="0"/>
              <a:buChar char="•"/>
            </a:pPr>
            <a:r>
              <a:rPr lang="en-SG" sz="1200" b="1" dirty="0">
                <a:solidFill>
                  <a:schemeClr val="tx2"/>
                </a:solidFill>
                <a:cs typeface="Calibri"/>
              </a:rPr>
              <a:t>Integration with RMS:</a:t>
            </a:r>
            <a:r>
              <a:rPr lang="en-SG" sz="1200" b="0" i="0" dirty="0">
                <a:effectLst/>
              </a:rPr>
              <a:t> Development of a mechanism to connect the chatbot with the four different RMS sources for data access.</a:t>
            </a:r>
          </a:p>
          <a:p>
            <a:pPr marL="285750" indent="-285750">
              <a:buFont typeface="Arial" panose="020B0604020202020204" pitchFamily="34" charset="0"/>
              <a:buChar char="•"/>
            </a:pPr>
            <a:r>
              <a:rPr lang="en-SG" sz="1200" b="1" dirty="0">
                <a:solidFill>
                  <a:schemeClr val="tx2"/>
                </a:solidFill>
                <a:cs typeface="Calibri"/>
              </a:rPr>
              <a:t>Feedback Mechanism: </a:t>
            </a:r>
            <a:r>
              <a:rPr lang="en-SG" sz="1200" dirty="0"/>
              <a:t>The chatbot should also provide a feedback option a thumbs up/down to end user in order to give the LLM to learn and self train itself.</a:t>
            </a:r>
          </a:p>
          <a:p>
            <a:endParaRPr lang="en-SG" sz="1200" b="0" i="0" dirty="0">
              <a:effectLst/>
            </a:endParaRPr>
          </a:p>
          <a:p>
            <a:pPr marL="285750" indent="-285750" algn="l">
              <a:buFont typeface="Arial" panose="020B0604020202020204" pitchFamily="34" charset="0"/>
              <a:buChar char="•"/>
            </a:pPr>
            <a:endParaRPr lang="en-SG" sz="1200" b="0" i="0" dirty="0">
              <a:effectLst/>
            </a:endParaRPr>
          </a:p>
          <a:p>
            <a:pPr marL="285750" indent="-285750" algn="l">
              <a:buFont typeface="Arial" panose="020B0604020202020204" pitchFamily="34" charset="0"/>
              <a:buChar char="•"/>
            </a:pPr>
            <a:endParaRPr lang="en-SG" sz="1200" b="0" i="0" dirty="0">
              <a:effectLst/>
            </a:endParaRPr>
          </a:p>
          <a:p>
            <a:br>
              <a:rPr lang="en-SG" sz="1200" dirty="0"/>
            </a:br>
            <a:endParaRPr lang="en-SG" sz="1200" b="0" i="0" dirty="0">
              <a:effectLst/>
            </a:endParaRPr>
          </a:p>
          <a:p>
            <a:br>
              <a:rPr lang="en-SG" sz="1200" dirty="0"/>
            </a:br>
            <a:endParaRPr lang="en-US" sz="1200" dirty="0">
              <a:solidFill>
                <a:schemeClr val="tx2"/>
              </a:solidFill>
              <a:ea typeface="Calibri"/>
              <a:cs typeface="Arial"/>
            </a:endParaRPr>
          </a:p>
          <a:p>
            <a:pPr lvl="1"/>
            <a:endParaRPr lang="en-US" sz="1200" dirty="0">
              <a:solidFill>
                <a:srgbClr val="000000"/>
              </a:solidFill>
              <a:ea typeface="Calibri"/>
              <a:cs typeface="Calibri"/>
            </a:endParaRPr>
          </a:p>
          <a:p>
            <a:endParaRPr lang="en-US" sz="1200" dirty="0">
              <a:solidFill>
                <a:srgbClr val="000000"/>
              </a:solidFill>
              <a:ea typeface="Calibri"/>
              <a:cs typeface="Arial"/>
            </a:endParaRPr>
          </a:p>
          <a:p>
            <a:pPr marL="285750" indent="-285750">
              <a:buFont typeface="Arial"/>
              <a:buChar char="•"/>
            </a:pPr>
            <a:endParaRPr lang="en-US" sz="1200" b="1" dirty="0">
              <a:solidFill>
                <a:srgbClr val="3E00FF"/>
              </a:solidFill>
              <a:ea typeface="Calibri"/>
              <a:cs typeface="Calibri"/>
            </a:endParaRPr>
          </a:p>
        </p:txBody>
      </p:sp>
    </p:spTree>
    <p:extLst>
      <p:ext uri="{BB962C8B-B14F-4D97-AF65-F5344CB8AC3E}">
        <p14:creationId xmlns:p14="http://schemas.microsoft.com/office/powerpoint/2010/main" val="468296957"/>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D63D8-F251-C4B4-B3DD-F58BE99D64D3}"/>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AE58266-DB70-BC66-DCFB-A4A42110DA9B}"/>
              </a:ext>
            </a:extLst>
          </p:cNvPr>
          <p:cNvPicPr>
            <a:picLocks noGrp="1" noChangeAspect="1"/>
          </p:cNvPicPr>
          <p:nvPr>
            <p:ph type="pic" sz="quarter" idx="43"/>
          </p:nvPr>
        </p:nvPicPr>
        <p:blipFill>
          <a:blip r:embed="rId2">
            <a:extLst>
              <a:ext uri="{28A0092B-C50C-407E-A947-70E740481C1C}">
                <a14:useLocalDpi xmlns:a14="http://schemas.microsoft.com/office/drawing/2010/main" val="0"/>
              </a:ext>
            </a:extLst>
          </a:blip>
          <a:srcRect/>
          <a:stretch/>
        </p:blipFill>
        <p:spPr>
          <a:xfrm>
            <a:off x="5436946" y="608013"/>
            <a:ext cx="5715262" cy="5715262"/>
          </a:xfrm>
        </p:spPr>
      </p:pic>
      <p:sp>
        <p:nvSpPr>
          <p:cNvPr id="5" name="Title 5">
            <a:extLst>
              <a:ext uri="{FF2B5EF4-FFF2-40B4-BE49-F238E27FC236}">
                <a16:creationId xmlns:a16="http://schemas.microsoft.com/office/drawing/2014/main" id="{3A2AF28D-FD70-524E-C35B-35EAE3DCDE66}"/>
              </a:ext>
            </a:extLst>
          </p:cNvPr>
          <p:cNvSpPr>
            <a:spLocks noGrp="1"/>
          </p:cNvSpPr>
          <p:nvPr>
            <p:ph type="title"/>
          </p:nvPr>
        </p:nvSpPr>
        <p:spPr>
          <a:xfrm>
            <a:off x="285602" y="722250"/>
            <a:ext cx="4792662" cy="1662325"/>
          </a:xfrm>
        </p:spPr>
        <p:txBody>
          <a:bodyPr/>
          <a:lstStyle/>
          <a:p>
            <a:r>
              <a:rPr lang="en-GB" sz="4800">
                <a:cs typeface="Arial"/>
              </a:rPr>
              <a:t>Our Approach &amp; Solution</a:t>
            </a:r>
          </a:p>
        </p:txBody>
      </p:sp>
    </p:spTree>
    <p:extLst>
      <p:ext uri="{BB962C8B-B14F-4D97-AF65-F5344CB8AC3E}">
        <p14:creationId xmlns:p14="http://schemas.microsoft.com/office/powerpoint/2010/main" val="1733546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D4E53E-F237-8F46-F417-E8987B77F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CD4E53E-F237-8F46-F417-E8987B77FFB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1B349A-D2C8-41AE-A42C-855F0B8EBB95}"/>
              </a:ext>
            </a:extLst>
          </p:cNvPr>
          <p:cNvSpPr>
            <a:spLocks noGrp="1"/>
          </p:cNvSpPr>
          <p:nvPr>
            <p:ph type="title"/>
          </p:nvPr>
        </p:nvSpPr>
        <p:spPr>
          <a:xfrm>
            <a:off x="475488" y="603504"/>
            <a:ext cx="11233150" cy="746695"/>
          </a:xfrm>
        </p:spPr>
        <p:txBody>
          <a:bodyPr vert="horz"/>
          <a:lstStyle/>
          <a:p>
            <a:r>
              <a:rPr lang="en-GB" b="0" dirty="0"/>
              <a:t>Approach</a:t>
            </a:r>
            <a:endParaRPr lang="en-GB" b="0" dirty="0">
              <a:solidFill>
                <a:schemeClr val="tx2"/>
              </a:solidFill>
            </a:endParaRPr>
          </a:p>
        </p:txBody>
      </p:sp>
      <p:grpSp>
        <p:nvGrpSpPr>
          <p:cNvPr id="11" name="Group 10">
            <a:extLst>
              <a:ext uri="{FF2B5EF4-FFF2-40B4-BE49-F238E27FC236}">
                <a16:creationId xmlns:a16="http://schemas.microsoft.com/office/drawing/2014/main" id="{1E3B4F5E-C6F5-F0D0-4E16-280D5997D8EF}"/>
              </a:ext>
            </a:extLst>
          </p:cNvPr>
          <p:cNvGrpSpPr/>
          <p:nvPr/>
        </p:nvGrpSpPr>
        <p:grpSpPr>
          <a:xfrm>
            <a:off x="483362" y="1110736"/>
            <a:ext cx="10509866" cy="890292"/>
            <a:chOff x="475488" y="2393478"/>
            <a:chExt cx="10509866" cy="890292"/>
          </a:xfrm>
        </p:grpSpPr>
        <p:sp>
          <p:nvSpPr>
            <p:cNvPr id="35" name="TextBox 34">
              <a:extLst>
                <a:ext uri="{FF2B5EF4-FFF2-40B4-BE49-F238E27FC236}">
                  <a16:creationId xmlns:a16="http://schemas.microsoft.com/office/drawing/2014/main" id="{23A81448-9F30-6D69-758D-F81B942CB5E9}"/>
                </a:ext>
              </a:extLst>
            </p:cNvPr>
            <p:cNvSpPr txBox="1"/>
            <p:nvPr/>
          </p:nvSpPr>
          <p:spPr>
            <a:xfrm>
              <a:off x="475488" y="2975993"/>
              <a:ext cx="2026266" cy="307777"/>
            </a:xfrm>
            <a:prstGeom prst="rect">
              <a:avLst/>
            </a:prstGeom>
            <a:noFill/>
          </p:spPr>
          <p:txBody>
            <a:bodyPr wrap="square" lIns="0" tIns="45720" rIns="91440" bIns="45720" anchor="t">
              <a:spAutoFit/>
            </a:bodyPr>
            <a:lstStyle/>
            <a:p>
              <a:pPr>
                <a:spcAft>
                  <a:spcPts val="1200"/>
                </a:spcAft>
                <a:defRPr/>
              </a:pPr>
              <a:r>
                <a:rPr kumimoji="0" lang="en-GB" sz="1400" b="1" i="0" u="none" strike="noStrike" kern="1200" cap="none" spc="0" normalizeH="0" baseline="0" noProof="0" dirty="0" err="1">
                  <a:ln>
                    <a:noFill/>
                  </a:ln>
                  <a:solidFill>
                    <a:srgbClr val="3E00FF"/>
                  </a:solidFill>
                  <a:effectLst/>
                  <a:uLnTx/>
                  <a:uFillTx/>
                  <a:latin typeface="Arial"/>
                  <a:ea typeface="+mn-ea"/>
                  <a:cs typeface="+mn-cs"/>
                </a:rPr>
                <a:t>Kickoff</a:t>
              </a:r>
              <a:r>
                <a:rPr lang="en-GB" sz="1400" b="1" dirty="0">
                  <a:solidFill>
                    <a:srgbClr val="3E00FF"/>
                  </a:solidFill>
                  <a:latin typeface="Arial"/>
                </a:rPr>
                <a:t> &amp; Discovery</a:t>
              </a:r>
              <a:endParaRPr lang="en-GB" sz="1400" b="0" i="0" u="none" strike="noStrike" kern="100" cap="none" spc="0" normalizeH="0" baseline="0" noProof="0" dirty="0">
                <a:ln>
                  <a:noFill/>
                </a:ln>
                <a:solidFill>
                  <a:srgbClr val="3E00FF"/>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D71EA33-1962-54DB-DD9F-FC475B3447E1}"/>
                </a:ext>
              </a:extLst>
            </p:cNvPr>
            <p:cNvSpPr/>
            <p:nvPr/>
          </p:nvSpPr>
          <p:spPr>
            <a:xfrm>
              <a:off x="475488" y="2832907"/>
              <a:ext cx="1731927" cy="618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23F118DB-5B4C-A878-B0BF-6773FA3A8323}"/>
                </a:ext>
              </a:extLst>
            </p:cNvPr>
            <p:cNvSpPr txBox="1"/>
            <p:nvPr/>
          </p:nvSpPr>
          <p:spPr>
            <a:xfrm>
              <a:off x="2588490" y="2975993"/>
              <a:ext cx="2026266" cy="307777"/>
            </a:xfrm>
            <a:prstGeom prst="rect">
              <a:avLst/>
            </a:prstGeom>
            <a:noFill/>
          </p:spPr>
          <p:txBody>
            <a:bodyPr wrap="square" lIns="0" tIns="45720" rIns="91440" bIns="45720" anchor="t">
              <a:spAutoFit/>
            </a:bodyPr>
            <a:lstStyle/>
            <a:p>
              <a:pPr>
                <a:spcAft>
                  <a:spcPts val="1200"/>
                </a:spcAft>
                <a:defRPr/>
              </a:pPr>
              <a:r>
                <a:rPr lang="en-GB" sz="1400" b="1" dirty="0">
                  <a:solidFill>
                    <a:srgbClr val="3E00FF"/>
                  </a:solidFill>
                  <a:cs typeface="Arial"/>
                </a:rPr>
                <a:t>Foundation Setup</a:t>
              </a:r>
            </a:p>
          </p:txBody>
        </p:sp>
        <p:sp>
          <p:nvSpPr>
            <p:cNvPr id="16" name="Rectangle 15">
              <a:extLst>
                <a:ext uri="{FF2B5EF4-FFF2-40B4-BE49-F238E27FC236}">
                  <a16:creationId xmlns:a16="http://schemas.microsoft.com/office/drawing/2014/main" id="{A653B482-EC71-546A-F538-E26E053DC116}"/>
                </a:ext>
              </a:extLst>
            </p:cNvPr>
            <p:cNvSpPr/>
            <p:nvPr/>
          </p:nvSpPr>
          <p:spPr>
            <a:xfrm>
              <a:off x="2598928" y="2832907"/>
              <a:ext cx="1731927" cy="618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BE4C6444-962B-B8E7-B88B-E4FACE5EC167}"/>
                </a:ext>
              </a:extLst>
            </p:cNvPr>
            <p:cNvSpPr txBox="1"/>
            <p:nvPr/>
          </p:nvSpPr>
          <p:spPr>
            <a:xfrm>
              <a:off x="4722368" y="2975993"/>
              <a:ext cx="2026266" cy="307777"/>
            </a:xfrm>
            <a:prstGeom prst="rect">
              <a:avLst/>
            </a:prstGeom>
            <a:noFill/>
          </p:spPr>
          <p:txBody>
            <a:bodyPr wrap="square" lIns="0" tIns="45720" rIns="91440" bIns="45720" anchor="t">
              <a:spAutoFit/>
            </a:bodyPr>
            <a:lstStyle/>
            <a:p>
              <a:pPr>
                <a:spcAft>
                  <a:spcPts val="1200"/>
                </a:spcAft>
                <a:defRPr/>
              </a:pPr>
              <a:r>
                <a:rPr lang="en-GB" sz="1400" b="1" dirty="0">
                  <a:solidFill>
                    <a:srgbClr val="3E00FF"/>
                  </a:solidFill>
                  <a:cs typeface="Arial"/>
                </a:rPr>
                <a:t>Workload Build</a:t>
              </a:r>
            </a:p>
          </p:txBody>
        </p:sp>
        <p:sp>
          <p:nvSpPr>
            <p:cNvPr id="20" name="Rectangle 19">
              <a:extLst>
                <a:ext uri="{FF2B5EF4-FFF2-40B4-BE49-F238E27FC236}">
                  <a16:creationId xmlns:a16="http://schemas.microsoft.com/office/drawing/2014/main" id="{C4CCCA58-6B30-34D7-0440-FE2888EA0348}"/>
                </a:ext>
              </a:extLst>
            </p:cNvPr>
            <p:cNvSpPr/>
            <p:nvPr/>
          </p:nvSpPr>
          <p:spPr>
            <a:xfrm>
              <a:off x="4722368" y="2832907"/>
              <a:ext cx="1731927" cy="618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ED66A10-DD36-21BB-5AEE-3F648D070B46}"/>
                </a:ext>
              </a:extLst>
            </p:cNvPr>
            <p:cNvSpPr txBox="1"/>
            <p:nvPr/>
          </p:nvSpPr>
          <p:spPr>
            <a:xfrm>
              <a:off x="6825488" y="2975993"/>
              <a:ext cx="2026266" cy="307777"/>
            </a:xfrm>
            <a:prstGeom prst="rect">
              <a:avLst/>
            </a:prstGeom>
            <a:noFill/>
          </p:spPr>
          <p:txBody>
            <a:bodyPr wrap="square" lIns="0" tIns="45720" rIns="91440" bIns="45720" anchor="t">
              <a:spAutoFit/>
            </a:bodyPr>
            <a:lstStyle/>
            <a:p>
              <a:pPr>
                <a:spcAft>
                  <a:spcPts val="1200"/>
                </a:spcAft>
                <a:defRPr/>
              </a:pPr>
              <a:r>
                <a:rPr lang="en-GB" sz="1400" b="1" dirty="0">
                  <a:solidFill>
                    <a:srgbClr val="3E00FF"/>
                  </a:solidFill>
                  <a:latin typeface="Arial"/>
                </a:rPr>
                <a:t>Testing</a:t>
              </a:r>
              <a:endParaRPr lang="en-US" sz="1400" dirty="0">
                <a:cs typeface="Arial"/>
              </a:endParaRPr>
            </a:p>
          </p:txBody>
        </p:sp>
        <p:sp>
          <p:nvSpPr>
            <p:cNvPr id="25" name="Rectangle 24">
              <a:extLst>
                <a:ext uri="{FF2B5EF4-FFF2-40B4-BE49-F238E27FC236}">
                  <a16:creationId xmlns:a16="http://schemas.microsoft.com/office/drawing/2014/main" id="{5718674C-92B5-02EA-C301-5391C99F9E81}"/>
                </a:ext>
              </a:extLst>
            </p:cNvPr>
            <p:cNvSpPr/>
            <p:nvPr/>
          </p:nvSpPr>
          <p:spPr>
            <a:xfrm>
              <a:off x="6825488" y="2832907"/>
              <a:ext cx="1731927" cy="618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C9F01517-D422-1809-EA8D-DFD9EC0BDBA2}"/>
                </a:ext>
              </a:extLst>
            </p:cNvPr>
            <p:cNvSpPr txBox="1"/>
            <p:nvPr/>
          </p:nvSpPr>
          <p:spPr>
            <a:xfrm>
              <a:off x="8959088" y="2975993"/>
              <a:ext cx="2026266" cy="307777"/>
            </a:xfrm>
            <a:prstGeom prst="rect">
              <a:avLst/>
            </a:prstGeom>
            <a:noFill/>
          </p:spPr>
          <p:txBody>
            <a:bodyPr wrap="square" lIns="0" tIns="45720" rIns="91440" bIns="45720" anchor="t">
              <a:spAutoFit/>
            </a:bodyPr>
            <a:lstStyle/>
            <a:p>
              <a:pPr>
                <a:spcAft>
                  <a:spcPts val="1200"/>
                </a:spcAft>
                <a:defRPr/>
              </a:pPr>
              <a:r>
                <a:rPr lang="en-GB" sz="1400" b="1" dirty="0">
                  <a:solidFill>
                    <a:srgbClr val="3E00FF"/>
                  </a:solidFill>
                  <a:latin typeface="Arial"/>
                </a:rPr>
                <a:t>Deployment</a:t>
              </a:r>
              <a:endParaRPr lang="en-US" sz="1400" b="1" dirty="0">
                <a:solidFill>
                  <a:srgbClr val="3E00FF"/>
                </a:solidFill>
                <a:latin typeface="Arial"/>
              </a:endParaRPr>
            </a:p>
          </p:txBody>
        </p:sp>
        <p:sp>
          <p:nvSpPr>
            <p:cNvPr id="30" name="Rectangle 29">
              <a:extLst>
                <a:ext uri="{FF2B5EF4-FFF2-40B4-BE49-F238E27FC236}">
                  <a16:creationId xmlns:a16="http://schemas.microsoft.com/office/drawing/2014/main" id="{573A6474-1957-60E6-07E5-2EDEB3A4E659}"/>
                </a:ext>
              </a:extLst>
            </p:cNvPr>
            <p:cNvSpPr/>
            <p:nvPr/>
          </p:nvSpPr>
          <p:spPr>
            <a:xfrm>
              <a:off x="8959088" y="2832907"/>
              <a:ext cx="1731927" cy="618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DC361984-9414-9E79-E0FB-576B28C2018C}"/>
                </a:ext>
              </a:extLst>
            </p:cNvPr>
            <p:cNvSpPr txBox="1"/>
            <p:nvPr/>
          </p:nvSpPr>
          <p:spPr>
            <a:xfrm>
              <a:off x="495808" y="2393478"/>
              <a:ext cx="1731927" cy="276999"/>
            </a:xfrm>
            <a:prstGeom prst="rect">
              <a:avLst/>
            </a:prstGeom>
            <a:noFill/>
          </p:spPr>
          <p:txBody>
            <a:bodyPr wrap="square" lIns="0" tIns="45720" rIns="91440" bIns="45720" rtlCol="0" anchor="t">
              <a:spAutoFit/>
            </a:bodyPr>
            <a:lstStyle/>
            <a:p>
              <a:pPr>
                <a:defRPr/>
              </a:pPr>
              <a:r>
                <a:rPr lang="en-GB" sz="1200">
                  <a:solidFill>
                    <a:prstClr val="black"/>
                  </a:solidFill>
                  <a:latin typeface="Arial"/>
                  <a:cs typeface="Arial"/>
                </a:rPr>
                <a:t>Step 1</a:t>
              </a:r>
              <a:endParaRPr lang="en-US">
                <a:ea typeface="+mn-ea"/>
                <a:cs typeface="+mn-cs"/>
              </a:endParaRPr>
            </a:p>
          </p:txBody>
        </p:sp>
        <p:sp>
          <p:nvSpPr>
            <p:cNvPr id="5" name="TextBox 4">
              <a:extLst>
                <a:ext uri="{FF2B5EF4-FFF2-40B4-BE49-F238E27FC236}">
                  <a16:creationId xmlns:a16="http://schemas.microsoft.com/office/drawing/2014/main" id="{0ABB9470-8C97-AAF5-47D0-CD1FB2EF9C92}"/>
                </a:ext>
              </a:extLst>
            </p:cNvPr>
            <p:cNvSpPr txBox="1"/>
            <p:nvPr/>
          </p:nvSpPr>
          <p:spPr>
            <a:xfrm>
              <a:off x="2618081" y="2406410"/>
              <a:ext cx="1731927" cy="276999"/>
            </a:xfrm>
            <a:prstGeom prst="rect">
              <a:avLst/>
            </a:prstGeom>
            <a:noFill/>
          </p:spPr>
          <p:txBody>
            <a:bodyPr wrap="square" lIns="0" tIns="45720" rIns="91440" bIns="45720" rtlCol="0" anchor="t">
              <a:spAutoFit/>
            </a:bodyPr>
            <a:lstStyle/>
            <a:p>
              <a:pPr>
                <a:defRPr/>
              </a:pPr>
              <a:r>
                <a:rPr lang="en-GB" sz="1200">
                  <a:solidFill>
                    <a:prstClr val="black"/>
                  </a:solidFill>
                  <a:latin typeface="Arial"/>
                  <a:cs typeface="Arial"/>
                </a:rPr>
                <a:t>Step 2</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8CA18066-2EFB-EB68-C4DC-1D2764C4B792}"/>
                </a:ext>
              </a:extLst>
            </p:cNvPr>
            <p:cNvSpPr txBox="1"/>
            <p:nvPr/>
          </p:nvSpPr>
          <p:spPr>
            <a:xfrm>
              <a:off x="4740354" y="2393478"/>
              <a:ext cx="1731927" cy="276999"/>
            </a:xfrm>
            <a:prstGeom prst="rect">
              <a:avLst/>
            </a:prstGeom>
            <a:noFill/>
          </p:spPr>
          <p:txBody>
            <a:bodyPr wrap="square" lIns="0" tIns="45720" rIns="91440" bIns="45720" rtlCol="0" anchor="t">
              <a:spAutoFit/>
            </a:bodyPr>
            <a:lstStyle/>
            <a:p>
              <a:pPr>
                <a:defRPr/>
              </a:pPr>
              <a:r>
                <a:rPr lang="en-GB" sz="1200">
                  <a:solidFill>
                    <a:prstClr val="black"/>
                  </a:solidFill>
                  <a:latin typeface="Arial"/>
                  <a:cs typeface="Arial"/>
                </a:rPr>
                <a:t>Step 3</a:t>
              </a:r>
              <a:endParaRPr lang="en-US">
                <a:ea typeface="+mn-ea"/>
                <a:cs typeface="+mn-cs"/>
              </a:endParaRPr>
            </a:p>
          </p:txBody>
        </p:sp>
        <p:sp>
          <p:nvSpPr>
            <p:cNvPr id="9" name="TextBox 8">
              <a:extLst>
                <a:ext uri="{FF2B5EF4-FFF2-40B4-BE49-F238E27FC236}">
                  <a16:creationId xmlns:a16="http://schemas.microsoft.com/office/drawing/2014/main" id="{81DAEBAB-9F49-50AB-7369-904F93BB9E42}"/>
                </a:ext>
              </a:extLst>
            </p:cNvPr>
            <p:cNvSpPr txBox="1"/>
            <p:nvPr/>
          </p:nvSpPr>
          <p:spPr>
            <a:xfrm>
              <a:off x="6834824" y="2393478"/>
              <a:ext cx="1731927" cy="276999"/>
            </a:xfrm>
            <a:prstGeom prst="rect">
              <a:avLst/>
            </a:prstGeom>
            <a:noFill/>
          </p:spPr>
          <p:txBody>
            <a:bodyPr wrap="square" lIns="0" tIns="45720" rIns="91440" bIns="45720" rtlCol="0" anchor="t">
              <a:spAutoFit/>
            </a:bodyPr>
            <a:lstStyle/>
            <a:p>
              <a:pPr>
                <a:defRPr/>
              </a:pPr>
              <a:r>
                <a:rPr lang="en-GB" sz="1200">
                  <a:solidFill>
                    <a:prstClr val="black"/>
                  </a:solidFill>
                  <a:latin typeface="Arial"/>
                  <a:cs typeface="Arial"/>
                </a:rPr>
                <a:t>Step 4</a:t>
              </a:r>
              <a:endParaRPr lang="en-US">
                <a:ea typeface="+mn-ea"/>
                <a:cs typeface="+mn-cs"/>
              </a:endParaRPr>
            </a:p>
          </p:txBody>
        </p:sp>
        <p:sp>
          <p:nvSpPr>
            <p:cNvPr id="10" name="TextBox 9">
              <a:extLst>
                <a:ext uri="{FF2B5EF4-FFF2-40B4-BE49-F238E27FC236}">
                  <a16:creationId xmlns:a16="http://schemas.microsoft.com/office/drawing/2014/main" id="{BF7A7803-05DC-5B92-FB64-30954EF3F4A7}"/>
                </a:ext>
              </a:extLst>
            </p:cNvPr>
            <p:cNvSpPr txBox="1"/>
            <p:nvPr/>
          </p:nvSpPr>
          <p:spPr>
            <a:xfrm>
              <a:off x="8984900" y="2393478"/>
              <a:ext cx="1731927" cy="276999"/>
            </a:xfrm>
            <a:prstGeom prst="rect">
              <a:avLst/>
            </a:prstGeom>
            <a:noFill/>
          </p:spPr>
          <p:txBody>
            <a:bodyPr wrap="square" lIns="0" tIns="45720" rIns="91440" bIns="45720" rtlCol="0" anchor="t">
              <a:spAutoFit/>
            </a:bodyPr>
            <a:lstStyle/>
            <a:p>
              <a:pPr>
                <a:defRPr/>
              </a:pPr>
              <a:r>
                <a:rPr lang="en-GB" sz="1200">
                  <a:solidFill>
                    <a:prstClr val="black"/>
                  </a:solidFill>
                  <a:latin typeface="Arial"/>
                  <a:cs typeface="Arial"/>
                </a:rPr>
                <a:t>Step 5</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3" name="Slide Number Placeholder 5">
            <a:extLst>
              <a:ext uri="{FF2B5EF4-FFF2-40B4-BE49-F238E27FC236}">
                <a16:creationId xmlns:a16="http://schemas.microsoft.com/office/drawing/2014/main" id="{13366AAF-81BC-B19F-3E56-01C6BC521450}"/>
              </a:ext>
            </a:extLst>
          </p:cNvPr>
          <p:cNvSpPr txBox="1">
            <a:spLocks/>
          </p:cNvSpPr>
          <p:nvPr/>
        </p:nvSpPr>
        <p:spPr>
          <a:xfrm>
            <a:off x="479425" y="6339948"/>
            <a:ext cx="173038" cy="169200"/>
          </a:xfrm>
          <a:prstGeom prst="rect">
            <a:avLst/>
          </a:prstGeom>
        </p:spPr>
        <p:txBody>
          <a:bodyPr lIns="0" tIns="0" rIns="0" bIns="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4C2AD82-1025-4508-97C1-6F7EE5C92734}" type="slidenum">
              <a:rPr kumimoji="0" lang="en-GB" sz="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prstClr val="black"/>
              </a:solidFill>
              <a:effectLst/>
              <a:uLnTx/>
              <a:uFillTx/>
              <a:latin typeface="Arial"/>
              <a:ea typeface="+mn-ea"/>
              <a:cs typeface="+mn-cs"/>
            </a:endParaRPr>
          </a:p>
        </p:txBody>
      </p:sp>
      <p:pic>
        <p:nvPicPr>
          <p:cNvPr id="15" name="Graphic 46">
            <a:extLst>
              <a:ext uri="{FF2B5EF4-FFF2-40B4-BE49-F238E27FC236}">
                <a16:creationId xmlns:a16="http://schemas.microsoft.com/office/drawing/2014/main" id="{6A6BB71A-BE90-5B75-9C0E-E80836DE55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74093" y="1108327"/>
            <a:ext cx="272530" cy="274826"/>
          </a:xfrm>
          <a:prstGeom prst="rect">
            <a:avLst/>
          </a:prstGeom>
        </p:spPr>
      </p:pic>
      <p:sp>
        <p:nvSpPr>
          <p:cNvPr id="24" name="Rectangle 23">
            <a:extLst>
              <a:ext uri="{FF2B5EF4-FFF2-40B4-BE49-F238E27FC236}">
                <a16:creationId xmlns:a16="http://schemas.microsoft.com/office/drawing/2014/main" id="{2B9BC7D0-D7DE-EA9A-9058-4B3788CF6779}"/>
              </a:ext>
            </a:extLst>
          </p:cNvPr>
          <p:cNvSpPr/>
          <p:nvPr/>
        </p:nvSpPr>
        <p:spPr>
          <a:xfrm>
            <a:off x="487020" y="2096048"/>
            <a:ext cx="1692269" cy="37932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182880" bIns="4572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Conduct discovery sessions with customer to understand the data sources that needs to be ingested into knowledge base</a:t>
            </a:r>
          </a:p>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In-Depth Analysis of integration points such RMS and other systems (if any)</a:t>
            </a:r>
          </a:p>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Infrastructure requirements and dependencies </a:t>
            </a:r>
          </a:p>
        </p:txBody>
      </p:sp>
      <p:sp>
        <p:nvSpPr>
          <p:cNvPr id="40" name="Rectangle 39">
            <a:extLst>
              <a:ext uri="{FF2B5EF4-FFF2-40B4-BE49-F238E27FC236}">
                <a16:creationId xmlns:a16="http://schemas.microsoft.com/office/drawing/2014/main" id="{B9977A3D-B1F6-185A-987B-AF18FE3BA3DD}"/>
              </a:ext>
            </a:extLst>
          </p:cNvPr>
          <p:cNvSpPr/>
          <p:nvPr/>
        </p:nvSpPr>
        <p:spPr>
          <a:xfrm>
            <a:off x="2600787" y="2096047"/>
            <a:ext cx="1739240" cy="37880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182880" bIns="4572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Establish the foundational infrastructure by provisioning resources, networking and security best practices using AWS console.</a:t>
            </a:r>
            <a:endParaRPr lang="en-US" sz="1000" dirty="0">
              <a:solidFill>
                <a:srgbClr val="FFFFFF"/>
              </a:solidFill>
              <a:latin typeface="Arial"/>
              <a:cs typeface="Arial"/>
            </a:endParaRPr>
          </a:p>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Set up basic cloud monitoring and reporting mechanisms. </a:t>
            </a:r>
          </a:p>
          <a:p>
            <a:pPr marL="171450" marR="0" lvl="0" indent="-171450" algn="l" defTabSz="1218996">
              <a:lnSpc>
                <a:spcPct val="100000"/>
              </a:lnSpc>
              <a:spcBef>
                <a:spcPts val="0"/>
              </a:spcBef>
              <a:spcAft>
                <a:spcPts val="600"/>
              </a:spcAft>
              <a:buClr>
                <a:srgbClr val="000000"/>
              </a:buClr>
              <a:buSzTx/>
              <a:buFont typeface="Arial"/>
              <a:buChar char="•"/>
              <a:tabLst/>
              <a:defRPr/>
            </a:pPr>
            <a:endParaRPr lang="en-US" sz="1000" b="0" i="0" u="none" strike="noStrike" kern="0" cap="none" spc="0" normalizeH="0" baseline="0" noProof="0" dirty="0">
              <a:ln>
                <a:noFill/>
              </a:ln>
              <a:solidFill>
                <a:srgbClr val="343541"/>
              </a:solidFill>
              <a:effectLst/>
              <a:uLnTx/>
              <a:uFillTx/>
              <a:latin typeface="Arial"/>
              <a:cs typeface="Arial"/>
            </a:endParaRPr>
          </a:p>
        </p:txBody>
      </p:sp>
      <p:sp>
        <p:nvSpPr>
          <p:cNvPr id="41" name="Rectangle 40">
            <a:extLst>
              <a:ext uri="{FF2B5EF4-FFF2-40B4-BE49-F238E27FC236}">
                <a16:creationId xmlns:a16="http://schemas.microsoft.com/office/drawing/2014/main" id="{5178A4D9-F247-7500-2C49-385BD3664363}"/>
              </a:ext>
            </a:extLst>
          </p:cNvPr>
          <p:cNvSpPr/>
          <p:nvPr/>
        </p:nvSpPr>
        <p:spPr>
          <a:xfrm>
            <a:off x="4740649" y="2096046"/>
            <a:ext cx="1739240" cy="37932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182880" bIns="4572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defTabSz="1218996">
              <a:spcAft>
                <a:spcPts val="600"/>
              </a:spcAft>
              <a:buClr>
                <a:srgbClr val="000000"/>
              </a:buClr>
              <a:buFont typeface="Arial" panose="020B0604020202020204" pitchFamily="34" charset="0"/>
              <a:buChar char="•"/>
              <a:defRPr/>
            </a:pPr>
            <a:r>
              <a:rPr lang="en-US" sz="1000" kern="0" dirty="0">
                <a:solidFill>
                  <a:srgbClr val="343541"/>
                </a:solidFill>
                <a:latin typeface="Arial"/>
                <a:cs typeface="Arial"/>
              </a:rPr>
              <a:t>Implement ingestion of data into the knowledge repository.</a:t>
            </a:r>
          </a:p>
          <a:p>
            <a:pPr marL="171450" indent="-171450" defTabSz="1218996">
              <a:spcAft>
                <a:spcPts val="600"/>
              </a:spcAft>
              <a:buClr>
                <a:srgbClr val="000000"/>
              </a:buClr>
              <a:buFont typeface="Arial" panose="020B0604020202020204" pitchFamily="34" charset="0"/>
              <a:buChar char="•"/>
              <a:defRPr/>
            </a:pPr>
            <a:r>
              <a:rPr lang="en-US" sz="1000" kern="0" dirty="0">
                <a:solidFill>
                  <a:srgbClr val="343541"/>
                </a:solidFill>
                <a:latin typeface="Arial"/>
                <a:cs typeface="Arial"/>
              </a:rPr>
              <a:t>Implement frontend interface for the chatbot</a:t>
            </a:r>
          </a:p>
          <a:p>
            <a:pPr marL="171450" indent="-171450" defTabSz="1218996">
              <a:spcAft>
                <a:spcPts val="600"/>
              </a:spcAft>
              <a:buClr>
                <a:srgbClr val="000000"/>
              </a:buClr>
              <a:buFont typeface="Arial" panose="020B0604020202020204" pitchFamily="34" charset="0"/>
              <a:buChar char="•"/>
              <a:defRPr/>
            </a:pPr>
            <a:r>
              <a:rPr lang="en-US" sz="1000" kern="0" dirty="0">
                <a:solidFill>
                  <a:srgbClr val="343541"/>
                </a:solidFill>
                <a:latin typeface="Arial"/>
                <a:cs typeface="Arial"/>
              </a:rPr>
              <a:t>Implement end to end RAG workflow with integration with PMS system.</a:t>
            </a:r>
          </a:p>
        </p:txBody>
      </p:sp>
      <p:sp>
        <p:nvSpPr>
          <p:cNvPr id="42" name="Rectangle 41">
            <a:extLst>
              <a:ext uri="{FF2B5EF4-FFF2-40B4-BE49-F238E27FC236}">
                <a16:creationId xmlns:a16="http://schemas.microsoft.com/office/drawing/2014/main" id="{E429A1B2-2D6E-01E1-B387-FD3AE293A28E}"/>
              </a:ext>
            </a:extLst>
          </p:cNvPr>
          <p:cNvSpPr/>
          <p:nvPr/>
        </p:nvSpPr>
        <p:spPr>
          <a:xfrm>
            <a:off x="6880511" y="2096045"/>
            <a:ext cx="1739240" cy="37515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182880" bIns="4572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Perform functional and integration testing for the Gen AI Chatbot</a:t>
            </a:r>
          </a:p>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Support customer in UAT to validate that the deployed solution meets business requirements.</a:t>
            </a:r>
          </a:p>
        </p:txBody>
      </p:sp>
      <p:sp>
        <p:nvSpPr>
          <p:cNvPr id="43" name="Rectangle 42">
            <a:extLst>
              <a:ext uri="{FF2B5EF4-FFF2-40B4-BE49-F238E27FC236}">
                <a16:creationId xmlns:a16="http://schemas.microsoft.com/office/drawing/2014/main" id="{A6A44E62-0F3B-5FE7-40FB-4AA54A5A5015}"/>
              </a:ext>
            </a:extLst>
          </p:cNvPr>
          <p:cNvSpPr/>
          <p:nvPr/>
        </p:nvSpPr>
        <p:spPr>
          <a:xfrm>
            <a:off x="9020373" y="2096044"/>
            <a:ext cx="1739240" cy="3741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182880" bIns="4572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defTabSz="1218996">
              <a:spcAft>
                <a:spcPts val="600"/>
              </a:spcAft>
              <a:buClr>
                <a:srgbClr val="000000"/>
              </a:buClr>
              <a:buFont typeface="Arial"/>
              <a:buChar char="•"/>
              <a:defRPr/>
            </a:pPr>
            <a:r>
              <a:rPr lang="en-US" sz="1000" kern="0" dirty="0">
                <a:solidFill>
                  <a:srgbClr val="343541"/>
                </a:solidFill>
                <a:latin typeface="Arial"/>
                <a:cs typeface="Arial"/>
              </a:rPr>
              <a:t>Final rollout of the chatbot ensuring all components are fully operational and accessible to users. </a:t>
            </a:r>
          </a:p>
          <a:p>
            <a:pPr marL="171450" indent="-171450" defTabSz="1218996">
              <a:spcAft>
                <a:spcPts val="600"/>
              </a:spcAft>
              <a:buClr>
                <a:prstClr val="black"/>
              </a:buClr>
              <a:buFont typeface="Arial"/>
              <a:buChar char="•"/>
              <a:defRPr/>
            </a:pPr>
            <a:r>
              <a:rPr lang="en-US" sz="1000" kern="0" dirty="0">
                <a:solidFill>
                  <a:srgbClr val="343541"/>
                </a:solidFill>
                <a:latin typeface="Arial"/>
                <a:cs typeface="Arial"/>
              </a:rPr>
              <a:t>Deploy the chatbot to </a:t>
            </a:r>
            <a:r>
              <a:rPr lang="en-US" sz="1000" kern="0" dirty="0" err="1">
                <a:solidFill>
                  <a:srgbClr val="343541"/>
                </a:solidFill>
                <a:latin typeface="Arial"/>
                <a:cs typeface="Arial"/>
              </a:rPr>
              <a:t>Furama</a:t>
            </a:r>
            <a:r>
              <a:rPr lang="en-US" sz="1000" kern="0" dirty="0">
                <a:solidFill>
                  <a:srgbClr val="343541"/>
                </a:solidFill>
                <a:latin typeface="Arial"/>
                <a:cs typeface="Arial"/>
              </a:rPr>
              <a:t> Website. </a:t>
            </a:r>
          </a:p>
          <a:p>
            <a:pPr defTabSz="1218996">
              <a:spcAft>
                <a:spcPts val="600"/>
              </a:spcAft>
              <a:buClr>
                <a:srgbClr val="000000"/>
              </a:buClr>
              <a:defRPr/>
            </a:pPr>
            <a:endParaRPr lang="en-US" sz="1050" kern="0" dirty="0">
              <a:solidFill>
                <a:srgbClr val="343541"/>
              </a:solidFill>
              <a:latin typeface="Arial"/>
              <a:cs typeface="Arial"/>
            </a:endParaRPr>
          </a:p>
        </p:txBody>
      </p:sp>
      <p:pic>
        <p:nvPicPr>
          <p:cNvPr id="44" name="Graphic 25">
            <a:extLst>
              <a:ext uri="{FF2B5EF4-FFF2-40B4-BE49-F238E27FC236}">
                <a16:creationId xmlns:a16="http://schemas.microsoft.com/office/drawing/2014/main" id="{15C398CA-3FE8-196E-EF5B-0AC06EA658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09505" y="1108880"/>
            <a:ext cx="274738" cy="277034"/>
          </a:xfrm>
          <a:prstGeom prst="rect">
            <a:avLst/>
          </a:prstGeom>
        </p:spPr>
      </p:pic>
      <p:pic>
        <p:nvPicPr>
          <p:cNvPr id="46" name="Graphic 17">
            <a:extLst>
              <a:ext uri="{FF2B5EF4-FFF2-40B4-BE49-F238E27FC236}">
                <a16:creationId xmlns:a16="http://schemas.microsoft.com/office/drawing/2014/main" id="{4639F269-14B1-E84E-F847-A16A3A95E6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81003" y="1109925"/>
            <a:ext cx="275351" cy="277647"/>
          </a:xfrm>
          <a:prstGeom prst="rect">
            <a:avLst/>
          </a:prstGeom>
        </p:spPr>
      </p:pic>
      <p:pic>
        <p:nvPicPr>
          <p:cNvPr id="47" name="Graphic 2">
            <a:extLst>
              <a:ext uri="{FF2B5EF4-FFF2-40B4-BE49-F238E27FC236}">
                <a16:creationId xmlns:a16="http://schemas.microsoft.com/office/drawing/2014/main" id="{25E6D2CC-D59A-8625-0C25-C1CDF0338F5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57765" y="1116490"/>
            <a:ext cx="270295" cy="272591"/>
          </a:xfrm>
          <a:prstGeom prst="rect">
            <a:avLst/>
          </a:prstGeom>
        </p:spPr>
      </p:pic>
      <p:pic>
        <p:nvPicPr>
          <p:cNvPr id="48" name="Graphic 40">
            <a:extLst>
              <a:ext uri="{FF2B5EF4-FFF2-40B4-BE49-F238E27FC236}">
                <a16:creationId xmlns:a16="http://schemas.microsoft.com/office/drawing/2014/main" id="{35ADE6F4-B9B2-53F9-A93B-F84A145922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13253" y="1118766"/>
            <a:ext cx="272531" cy="274827"/>
          </a:xfrm>
          <a:prstGeom prst="rect">
            <a:avLst/>
          </a:prstGeom>
        </p:spPr>
      </p:pic>
      <p:sp>
        <p:nvSpPr>
          <p:cNvPr id="13" name="TextBox 44">
            <a:extLst>
              <a:ext uri="{FF2B5EF4-FFF2-40B4-BE49-F238E27FC236}">
                <a16:creationId xmlns:a16="http://schemas.microsoft.com/office/drawing/2014/main" id="{3315655F-BA73-1E44-8E0E-26C27B54EEBC}"/>
              </a:ext>
            </a:extLst>
          </p:cNvPr>
          <p:cNvSpPr txBox="1"/>
          <p:nvPr/>
        </p:nvSpPr>
        <p:spPr>
          <a:xfrm>
            <a:off x="3587645" y="5946719"/>
            <a:ext cx="4108213" cy="30777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400" dirty="0">
                <a:solidFill>
                  <a:prstClr val="black"/>
                </a:solidFill>
                <a:latin typeface="Arial"/>
              </a:rPr>
              <a:t>Gen AI Powered </a:t>
            </a:r>
            <a:r>
              <a:rPr lang="en-GB" sz="1400" dirty="0" err="1">
                <a:solidFill>
                  <a:prstClr val="black"/>
                </a:solidFill>
                <a:latin typeface="Arial"/>
              </a:rPr>
              <a:t>Furama</a:t>
            </a:r>
            <a:r>
              <a:rPr lang="en-GB" sz="1400" dirty="0">
                <a:solidFill>
                  <a:prstClr val="black"/>
                </a:solidFill>
                <a:latin typeface="Arial"/>
              </a:rPr>
              <a:t> Chatbot</a:t>
            </a:r>
            <a:endParaRPr lang="en-GB" sz="1400" dirty="0">
              <a:solidFill>
                <a:prstClr val="black"/>
              </a:solidFill>
              <a:cs typeface="Arial"/>
            </a:endParaRPr>
          </a:p>
        </p:txBody>
      </p:sp>
      <p:cxnSp>
        <p:nvCxnSpPr>
          <p:cNvPr id="26" name="Straight Arrow Connector 25">
            <a:extLst>
              <a:ext uri="{FF2B5EF4-FFF2-40B4-BE49-F238E27FC236}">
                <a16:creationId xmlns:a16="http://schemas.microsoft.com/office/drawing/2014/main" id="{B88E5BD9-3776-20A8-2C09-2D5F956D5306}"/>
              </a:ext>
            </a:extLst>
          </p:cNvPr>
          <p:cNvCxnSpPr>
            <a:cxnSpLocks/>
          </p:cNvCxnSpPr>
          <p:nvPr/>
        </p:nvCxnSpPr>
        <p:spPr>
          <a:xfrm flipV="1">
            <a:off x="504466" y="6092330"/>
            <a:ext cx="3421100" cy="635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0EFE92F-253C-EB29-A1BE-193D7B0B6406}"/>
              </a:ext>
            </a:extLst>
          </p:cNvPr>
          <p:cNvCxnSpPr>
            <a:cxnSpLocks/>
          </p:cNvCxnSpPr>
          <p:nvPr/>
        </p:nvCxnSpPr>
        <p:spPr>
          <a:xfrm flipV="1">
            <a:off x="7419615" y="6087568"/>
            <a:ext cx="3421100" cy="635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9702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8FEEB-FC73-1898-FF0D-7DD848ED026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876D42F-0140-E4C1-D121-00922E4C453E}"/>
              </a:ext>
            </a:extLst>
          </p:cNvPr>
          <p:cNvSpPr>
            <a:spLocks noGrp="1"/>
          </p:cNvSpPr>
          <p:nvPr>
            <p:ph type="sldNum" sz="quarter" idx="4294967295"/>
          </p:nvPr>
        </p:nvSpPr>
        <p:spPr>
          <a:xfrm>
            <a:off x="479425" y="6339948"/>
            <a:ext cx="173038" cy="169200"/>
          </a:xfrm>
        </p:spPr>
        <p:txBody>
          <a:bodyPr/>
          <a:lstStyle/>
          <a:p>
            <a:fld id="{E4C2AD82-1025-4508-97C1-6F7EE5C92734}" type="slidenum">
              <a:rPr lang="en-AU" smtClean="0"/>
              <a:pPr/>
              <a:t>8</a:t>
            </a:fld>
            <a:endParaRPr lang="en-AU"/>
          </a:p>
        </p:txBody>
      </p:sp>
      <p:sp>
        <p:nvSpPr>
          <p:cNvPr id="5" name="Title 4">
            <a:extLst>
              <a:ext uri="{FF2B5EF4-FFF2-40B4-BE49-F238E27FC236}">
                <a16:creationId xmlns:a16="http://schemas.microsoft.com/office/drawing/2014/main" id="{59E355DE-DCC0-2C66-871B-2110306C444B}"/>
              </a:ext>
            </a:extLst>
          </p:cNvPr>
          <p:cNvSpPr>
            <a:spLocks noGrp="1"/>
          </p:cNvSpPr>
          <p:nvPr>
            <p:ph type="title"/>
          </p:nvPr>
        </p:nvSpPr>
        <p:spPr/>
        <p:txBody>
          <a:bodyPr/>
          <a:lstStyle/>
          <a:p>
            <a:r>
              <a:rPr lang="en-US" dirty="0"/>
              <a:t>Proposed Solution</a:t>
            </a:r>
            <a:endParaRPr lang="en-SG" dirty="0"/>
          </a:p>
        </p:txBody>
      </p:sp>
      <p:sp>
        <p:nvSpPr>
          <p:cNvPr id="11" name="Content Placeholder 5">
            <a:extLst>
              <a:ext uri="{FF2B5EF4-FFF2-40B4-BE49-F238E27FC236}">
                <a16:creationId xmlns:a16="http://schemas.microsoft.com/office/drawing/2014/main" id="{B558A5B5-F9C1-CEDE-AE77-F75B88FA1C48}"/>
              </a:ext>
            </a:extLst>
          </p:cNvPr>
          <p:cNvSpPr>
            <a:spLocks noGrp="1"/>
          </p:cNvSpPr>
          <p:nvPr>
            <p:ph idx="13"/>
          </p:nvPr>
        </p:nvSpPr>
        <p:spPr>
          <a:xfrm>
            <a:off x="479425" y="224477"/>
            <a:ext cx="11233150" cy="297717"/>
          </a:xfrm>
        </p:spPr>
        <p:txBody>
          <a:bodyPr vert="horz" lIns="0" tIns="0" rIns="0" bIns="0" rtlCol="0" anchor="t">
            <a:noAutofit/>
          </a:bodyPr>
          <a:lstStyle/>
          <a:p>
            <a:r>
              <a:rPr lang="en-AU" dirty="0">
                <a:cs typeface="Arial"/>
              </a:rPr>
              <a:t>Approach &amp; Solution</a:t>
            </a:r>
            <a:endParaRPr lang="en-AU" dirty="0"/>
          </a:p>
        </p:txBody>
      </p:sp>
      <p:sp>
        <p:nvSpPr>
          <p:cNvPr id="2" name="TextBox 1">
            <a:extLst>
              <a:ext uri="{FF2B5EF4-FFF2-40B4-BE49-F238E27FC236}">
                <a16:creationId xmlns:a16="http://schemas.microsoft.com/office/drawing/2014/main" id="{C4623009-5549-6BF3-0616-BAA4FE9C70FB}"/>
              </a:ext>
            </a:extLst>
          </p:cNvPr>
          <p:cNvSpPr txBox="1"/>
          <p:nvPr/>
        </p:nvSpPr>
        <p:spPr>
          <a:xfrm>
            <a:off x="366782" y="1136301"/>
            <a:ext cx="11345794" cy="7294305"/>
          </a:xfrm>
          <a:prstGeom prst="rect">
            <a:avLst/>
          </a:prstGeom>
          <a:noFill/>
        </p:spPr>
        <p:txBody>
          <a:bodyPr wrap="square" lIns="91440" tIns="45720" rIns="91440" bIns="45720" anchor="t">
            <a:spAutoFit/>
          </a:bodyPr>
          <a:lstStyle/>
          <a:p>
            <a:r>
              <a:rPr lang="en-US" sz="1200" b="0" dirty="0">
                <a:ea typeface="Calibri"/>
                <a:cs typeface="Calibri"/>
              </a:rPr>
              <a:t>To address the pain points identified by </a:t>
            </a:r>
            <a:r>
              <a:rPr lang="en-US" sz="1200" dirty="0" err="1">
                <a:ea typeface="Calibri"/>
                <a:cs typeface="Calibri"/>
              </a:rPr>
              <a:t>Furama</a:t>
            </a:r>
            <a:r>
              <a:rPr lang="en-US" sz="1200" dirty="0">
                <a:ea typeface="Calibri"/>
                <a:cs typeface="Calibri"/>
              </a:rPr>
              <a:t> </a:t>
            </a:r>
            <a:r>
              <a:rPr lang="en-US" sz="1200" b="0" dirty="0">
                <a:ea typeface="Calibri"/>
                <a:cs typeface="Calibri"/>
              </a:rPr>
              <a:t>, we propose a comprehensive solution leveraging automation &amp;</a:t>
            </a:r>
            <a:r>
              <a:rPr lang="en-US" sz="1200" dirty="0">
                <a:ea typeface="Calibri"/>
                <a:cs typeface="Calibri"/>
              </a:rPr>
              <a:t> AWS</a:t>
            </a:r>
            <a:r>
              <a:rPr lang="en-US" sz="1200" b="0" dirty="0">
                <a:ea typeface="Calibri"/>
                <a:cs typeface="Calibri"/>
              </a:rPr>
              <a:t> </a:t>
            </a:r>
            <a:r>
              <a:rPr lang="en-US" sz="1200" dirty="0">
                <a:ea typeface="Calibri"/>
                <a:cs typeface="Calibri"/>
              </a:rPr>
              <a:t>Cloud with</a:t>
            </a:r>
            <a:r>
              <a:rPr lang="en-US" sz="1200" b="0" dirty="0">
                <a:ea typeface="Calibri"/>
                <a:cs typeface="Calibri"/>
              </a:rPr>
              <a:t> the following key features:</a:t>
            </a:r>
          </a:p>
          <a:p>
            <a:pPr marL="342900" indent="-342900">
              <a:buFont typeface="Arial"/>
              <a:buChar char="•"/>
            </a:pPr>
            <a:endParaRPr lang="en-US" sz="1200" b="1" dirty="0">
              <a:solidFill>
                <a:srgbClr val="3E00FF"/>
              </a:solidFill>
              <a:ea typeface="Calibri" panose="020F0502020204030204" pitchFamily="34" charset="0"/>
              <a:cs typeface="Calibri" panose="020F0502020204030204" pitchFamily="34" charset="0"/>
            </a:endParaRPr>
          </a:p>
          <a:p>
            <a:r>
              <a:rPr lang="en-US" sz="1200" b="1" dirty="0">
                <a:solidFill>
                  <a:schemeClr val="tx2"/>
                </a:solidFill>
                <a:ea typeface="Calibri"/>
                <a:cs typeface="Calibri"/>
              </a:rPr>
              <a:t>Phase 1</a:t>
            </a:r>
          </a:p>
          <a:p>
            <a:pPr marL="628650" lvl="1" indent="-171450">
              <a:buFont typeface="Arial" panose="020B0604020202020204" pitchFamily="34" charset="0"/>
              <a:buChar char="•"/>
            </a:pPr>
            <a:r>
              <a:rPr lang="en-SG" sz="1200" b="1" i="0" dirty="0">
                <a:effectLst/>
              </a:rPr>
              <a:t>Data Ingestion:</a:t>
            </a:r>
            <a:r>
              <a:rPr lang="en-SG" sz="1200" b="0" i="0" dirty="0">
                <a:effectLst/>
              </a:rPr>
              <a:t> Load documents into a knowledge base.</a:t>
            </a:r>
          </a:p>
          <a:p>
            <a:pPr marL="1085850" lvl="2" indent="-171450">
              <a:buFont typeface="Arial" panose="020B0604020202020204" pitchFamily="34" charset="0"/>
              <a:buChar char="•"/>
            </a:pPr>
            <a:r>
              <a:rPr lang="en-SG" sz="1200" b="0" i="0" dirty="0">
                <a:effectLst/>
              </a:rPr>
              <a:t>Identify and gather source documents (e.g., PDFs, HTML files) that contain relevant information. </a:t>
            </a:r>
          </a:p>
          <a:p>
            <a:pPr marL="1085850" lvl="2" indent="-171450">
              <a:buFont typeface="Arial" panose="020B0604020202020204" pitchFamily="34" charset="0"/>
              <a:buChar char="•"/>
            </a:pPr>
            <a:r>
              <a:rPr lang="en-SG" sz="1200" b="0" i="0" dirty="0">
                <a:effectLst/>
              </a:rPr>
              <a:t>Store the processed documents in an Amazon S3 bucket.</a:t>
            </a:r>
          </a:p>
          <a:p>
            <a:pPr marL="628650" lvl="1" indent="-171450">
              <a:buFont typeface="Arial" panose="020B0604020202020204" pitchFamily="34" charset="0"/>
              <a:buChar char="•"/>
            </a:pPr>
            <a:r>
              <a:rPr lang="en-SG" sz="1200" b="1" i="0" dirty="0">
                <a:effectLst/>
              </a:rPr>
              <a:t>Knowledge Base: </a:t>
            </a:r>
            <a:r>
              <a:rPr lang="en-SG" sz="1200" b="0" i="0" dirty="0">
                <a:effectLst/>
              </a:rPr>
              <a:t>Store and manage data for retrieval.</a:t>
            </a:r>
          </a:p>
          <a:p>
            <a:pPr marL="1085850" lvl="2" indent="-171450">
              <a:buFont typeface="Arial" panose="020B0604020202020204" pitchFamily="34" charset="0"/>
              <a:buChar char="•"/>
            </a:pPr>
            <a:r>
              <a:rPr lang="en-SG" sz="1200" b="0" i="0" dirty="0">
                <a:effectLst/>
              </a:rPr>
              <a:t>Set up Amazon OpenSearch Service Serverless  as your vector database to store embeddings of the documents.</a:t>
            </a:r>
          </a:p>
          <a:p>
            <a:pPr marL="1085850" lvl="2" indent="-171450">
              <a:buFont typeface="Arial" panose="020B0604020202020204" pitchFamily="34" charset="0"/>
              <a:buChar char="•"/>
            </a:pPr>
            <a:r>
              <a:rPr lang="en-SG" sz="1200" b="0" i="0" dirty="0">
                <a:effectLst/>
              </a:rPr>
              <a:t>Utilize an AWS Bedrock to read documents from S3, chunk them into manageable pieces, and convert these chunks into embeddings using Embeddings models.</a:t>
            </a:r>
          </a:p>
          <a:p>
            <a:pPr marL="628650" lvl="1" indent="-171450">
              <a:buFont typeface="Arial" panose="020B0604020202020204" pitchFamily="34" charset="0"/>
              <a:buChar char="•"/>
            </a:pPr>
            <a:r>
              <a:rPr lang="en-SG" sz="1200" b="1" i="0" dirty="0">
                <a:effectLst/>
              </a:rPr>
              <a:t>Retrieval Mechanism:</a:t>
            </a:r>
            <a:r>
              <a:rPr lang="en-SG" sz="1200" b="0" i="0" dirty="0">
                <a:effectLst/>
              </a:rPr>
              <a:t> Retrieve relevant information based on user queries.</a:t>
            </a:r>
          </a:p>
          <a:p>
            <a:pPr marL="1085850" lvl="2" indent="-171450">
              <a:buFont typeface="Arial" panose="020B0604020202020204" pitchFamily="34" charset="0"/>
              <a:buChar char="•"/>
            </a:pPr>
            <a:r>
              <a:rPr lang="en-SG" sz="1200" b="0" i="0" dirty="0">
                <a:effectLst/>
              </a:rPr>
              <a:t>When a user submits a query, convert it into an embedding using the same Titan Embeddings model used for document chunking.</a:t>
            </a:r>
            <a:endParaRPr lang="en-SG" sz="1200" dirty="0"/>
          </a:p>
          <a:p>
            <a:pPr marL="1085850" lvl="2" indent="-171450">
              <a:buFont typeface="Arial" panose="020B0604020202020204" pitchFamily="34" charset="0"/>
              <a:buChar char="•"/>
            </a:pPr>
            <a:r>
              <a:rPr lang="en-SG" sz="1200" b="0" i="0" dirty="0">
                <a:effectLst/>
              </a:rPr>
              <a:t>Perform a similarity search in vector database to find the most relevant document chunks based on the query embedding.</a:t>
            </a:r>
          </a:p>
          <a:p>
            <a:pPr marL="1085850" lvl="2" indent="-171450">
              <a:buFont typeface="Arial" panose="020B0604020202020204" pitchFamily="34" charset="0"/>
              <a:buChar char="•"/>
            </a:pPr>
            <a:r>
              <a:rPr lang="en-SG" sz="1200" b="0" i="0" dirty="0">
                <a:effectLst/>
              </a:rPr>
              <a:t>Combine the retrieved chunks with the original user query to create a comprehensive prompt for the generative model.</a:t>
            </a:r>
          </a:p>
          <a:p>
            <a:pPr marL="628650" lvl="1" indent="-171450">
              <a:buFont typeface="Arial" panose="020B0604020202020204" pitchFamily="34" charset="0"/>
              <a:buChar char="•"/>
            </a:pPr>
            <a:r>
              <a:rPr lang="en-SG" sz="1200" b="1" i="0" dirty="0">
                <a:effectLst/>
              </a:rPr>
              <a:t>Frontend Application:</a:t>
            </a:r>
            <a:r>
              <a:rPr lang="en-SG" sz="1200" b="0" i="0" dirty="0">
                <a:effectLst/>
              </a:rPr>
              <a:t> Provide a user interface for interaction.</a:t>
            </a:r>
          </a:p>
          <a:p>
            <a:pPr marL="1085850" lvl="2" indent="-171450">
              <a:buFont typeface="Arial" panose="020B0604020202020204" pitchFamily="34" charset="0"/>
              <a:buChar char="•"/>
            </a:pPr>
            <a:r>
              <a:rPr lang="en-SG" sz="1200" b="0" i="0" dirty="0">
                <a:effectLst/>
              </a:rPr>
              <a:t>Develop a frontend application using React that allows users to input queries and display responses from the assistant.</a:t>
            </a:r>
          </a:p>
          <a:p>
            <a:pPr marL="1085850" lvl="2" indent="-171450">
              <a:buFont typeface="Arial" panose="020B0604020202020204" pitchFamily="34" charset="0"/>
              <a:buChar char="•"/>
            </a:pPr>
            <a:r>
              <a:rPr lang="en-SG" sz="1200" b="0" i="0" dirty="0">
                <a:effectLst/>
              </a:rPr>
              <a:t>Integrate with backend services AWS Lambda that handle query submissions and responses from the generative model.</a:t>
            </a:r>
            <a:r>
              <a:rPr lang="en-US" sz="1200" b="1" dirty="0">
                <a:solidFill>
                  <a:schemeClr val="tx2"/>
                </a:solidFill>
                <a:ea typeface="Calibri"/>
                <a:cs typeface="Calibri"/>
              </a:rPr>
              <a:t> </a:t>
            </a:r>
          </a:p>
          <a:p>
            <a:endParaRPr lang="en-US" sz="1200" b="1" dirty="0">
              <a:solidFill>
                <a:schemeClr val="tx2"/>
              </a:solidFill>
              <a:ea typeface="Calibri"/>
              <a:cs typeface="Calibri"/>
            </a:endParaRPr>
          </a:p>
          <a:p>
            <a:r>
              <a:rPr lang="en-US" sz="1200" b="1" dirty="0">
                <a:solidFill>
                  <a:schemeClr val="tx2"/>
                </a:solidFill>
                <a:ea typeface="Calibri"/>
                <a:cs typeface="Calibri"/>
              </a:rPr>
              <a:t>Phase 2</a:t>
            </a:r>
            <a:endParaRPr lang="en-US" sz="1200" b="1" dirty="0">
              <a:solidFill>
                <a:schemeClr val="tx2"/>
              </a:solidFill>
              <a:cs typeface="Calibri"/>
            </a:endParaRPr>
          </a:p>
          <a:p>
            <a:pPr lvl="2"/>
            <a:endParaRPr lang="en-SG" sz="1200" b="0" i="0" dirty="0">
              <a:effectLst/>
            </a:endParaRPr>
          </a:p>
          <a:p>
            <a:pPr marL="628650" lvl="1" indent="-171450">
              <a:buFont typeface="Arial" panose="020B0604020202020204" pitchFamily="34" charset="0"/>
              <a:buChar char="•"/>
            </a:pPr>
            <a:r>
              <a:rPr lang="en-SG" sz="1200" b="1" i="0" dirty="0">
                <a:effectLst/>
              </a:rPr>
              <a:t>Conversation Memory:</a:t>
            </a:r>
            <a:r>
              <a:rPr lang="en-SG" sz="1200" b="0" i="0" dirty="0">
                <a:effectLst/>
              </a:rPr>
              <a:t> Store conversation history for context.</a:t>
            </a:r>
          </a:p>
          <a:p>
            <a:pPr marL="1085850" lvl="2" indent="-171450">
              <a:buFont typeface="Arial" panose="020B0604020202020204" pitchFamily="34" charset="0"/>
              <a:buChar char="•"/>
            </a:pPr>
            <a:r>
              <a:rPr lang="en-SG" sz="1200" b="0" i="0" dirty="0">
                <a:effectLst/>
              </a:rPr>
              <a:t>Use Amazon DynamoDB to store conversation memory, including user queries, assistant responses, and relevant context.</a:t>
            </a:r>
            <a:endParaRPr lang="en-SG" sz="1200" dirty="0"/>
          </a:p>
          <a:p>
            <a:pPr marL="1085850" lvl="2" indent="-171450">
              <a:buFont typeface="Arial" panose="020B0604020202020204" pitchFamily="34" charset="0"/>
              <a:buChar char="•"/>
            </a:pPr>
            <a:r>
              <a:rPr lang="en-SG" sz="1200" b="0" i="0" dirty="0">
                <a:effectLst/>
              </a:rPr>
              <a:t>Implement session management to track ongoing conversations and retrieve previous interactions when needed.</a:t>
            </a:r>
          </a:p>
          <a:p>
            <a:pPr marL="628650" lvl="1" indent="-171450">
              <a:buFont typeface="Arial" panose="020B0604020202020204" pitchFamily="34" charset="0"/>
              <a:buChar char="•"/>
            </a:pPr>
            <a:r>
              <a:rPr lang="en-SG" sz="1200" b="1" i="0" dirty="0">
                <a:effectLst/>
              </a:rPr>
              <a:t>Agent Workflow:</a:t>
            </a:r>
            <a:r>
              <a:rPr lang="en-SG" sz="1200" b="0" i="0" dirty="0">
                <a:effectLst/>
              </a:rPr>
              <a:t> Integration with </a:t>
            </a:r>
            <a:r>
              <a:rPr lang="en-SG" sz="1200" b="0" i="0" dirty="0" err="1">
                <a:effectLst/>
              </a:rPr>
              <a:t>Furam</a:t>
            </a:r>
            <a:r>
              <a:rPr lang="en-SG" sz="1200" dirty="0" err="1"/>
              <a:t>a</a:t>
            </a:r>
            <a:r>
              <a:rPr lang="en-SG" sz="1200" dirty="0"/>
              <a:t> backend system</a:t>
            </a:r>
            <a:endParaRPr lang="en-SG" sz="1200" b="0" i="0" dirty="0">
              <a:effectLst/>
            </a:endParaRPr>
          </a:p>
          <a:p>
            <a:pPr marL="1085850" lvl="2" indent="-171450">
              <a:buFont typeface="Arial" panose="020B0604020202020204" pitchFamily="34" charset="0"/>
              <a:buChar char="•"/>
            </a:pPr>
            <a:r>
              <a:rPr lang="en-SG" sz="1200" b="0" i="0" dirty="0">
                <a:effectLst/>
              </a:rPr>
              <a:t>Develop an agent that can securely connect to the hotel’s  PMS to retrieve relevant information. implement robust authentication and authorization mechanisms to ensure secure access to the PMS system from the agent.</a:t>
            </a:r>
          </a:p>
          <a:p>
            <a:pPr marL="1085850" lvl="2" indent="-171450">
              <a:buFont typeface="Arial" panose="020B0604020202020204" pitchFamily="34" charset="0"/>
              <a:buChar char="•"/>
            </a:pPr>
            <a:r>
              <a:rPr lang="en-SG" sz="1200" dirty="0"/>
              <a:t>Augment the retrieval mechanism with agent workflow</a:t>
            </a:r>
            <a:endParaRPr lang="en-SG" sz="1200" b="0" i="0" dirty="0">
              <a:effectLst/>
            </a:endParaRPr>
          </a:p>
          <a:p>
            <a:pPr marL="628650" lvl="1" indent="-171450">
              <a:buFont typeface="Arial" panose="020B0604020202020204" pitchFamily="34" charset="0"/>
              <a:buChar char="•"/>
            </a:pPr>
            <a:endParaRPr lang="en-SG" sz="1200" dirty="0">
              <a:latin typeface="__fkGroteskNeue_598ab8"/>
            </a:endParaRPr>
          </a:p>
          <a:p>
            <a:pPr marL="1200150" lvl="2" indent="-285750">
              <a:buFont typeface="Arial" panose="020B0604020202020204" pitchFamily="34" charset="0"/>
              <a:buChar char="•"/>
            </a:pPr>
            <a:endParaRPr lang="en-SG" sz="1200" b="0" i="0" dirty="0">
              <a:effectLst/>
              <a:latin typeface="__fkGroteskNeue_598ab8"/>
            </a:endParaRPr>
          </a:p>
          <a:p>
            <a:pPr marL="742950" lvl="1" indent="-285750">
              <a:buFont typeface="Arial" panose="020B0604020202020204" pitchFamily="34" charset="0"/>
              <a:buChar char="•"/>
            </a:pPr>
            <a:endParaRPr lang="en-US" sz="1200" dirty="0">
              <a:ea typeface="Calibri"/>
              <a:cs typeface="Calibri"/>
            </a:endParaRPr>
          </a:p>
          <a:p>
            <a:br>
              <a:rPr lang="en-SG" sz="1200" b="0" i="0" dirty="0">
                <a:effectLst/>
                <a:latin typeface="__fkGroteskNeue_598ab8"/>
              </a:rPr>
            </a:br>
            <a:endParaRPr lang="en-SG" sz="1200" b="0" i="0" dirty="0">
              <a:effectLst/>
              <a:latin typeface="__fkGroteskNeue_598ab8"/>
            </a:endParaRPr>
          </a:p>
          <a:p>
            <a:pPr marL="742950" lvl="1" indent="-285750">
              <a:buFont typeface="Arial" panose="020B0604020202020204" pitchFamily="34" charset="0"/>
              <a:buChar char="•"/>
            </a:pPr>
            <a:endParaRPr lang="en-US" sz="1200" dirty="0">
              <a:cs typeface="Calibri"/>
            </a:endParaRPr>
          </a:p>
          <a:p>
            <a:pPr lvl="1"/>
            <a:endParaRPr lang="en-US" sz="1200" dirty="0">
              <a:solidFill>
                <a:srgbClr val="000000"/>
              </a:solidFill>
              <a:ea typeface="Calibri" panose="020F0502020204030204" pitchFamily="34" charset="0"/>
              <a:cs typeface="Arial"/>
            </a:endParaRPr>
          </a:p>
          <a:p>
            <a:pPr marL="342900" indent="-342900">
              <a:buFont typeface="+mj-lt"/>
              <a:buChar char="•"/>
            </a:pPr>
            <a:endParaRPr lang="en-US" sz="1200" dirty="0">
              <a:cs typeface="Calibri" panose="020F0502020204030204" pitchFamily="34" charset="0"/>
            </a:endParaRPr>
          </a:p>
          <a:p>
            <a:pPr marL="742950" lvl="1" indent="-285750">
              <a:buFont typeface="Arial" panose="020B0604020202020204" pitchFamily="34" charset="0"/>
              <a:buChar char="•"/>
            </a:pPr>
            <a:endParaRPr lang="en-US" sz="1200" dirty="0">
              <a:cs typeface="Calibri" panose="020F0502020204030204" pitchFamily="34" charset="0"/>
            </a:endParaRPr>
          </a:p>
          <a:p>
            <a:endParaRPr lang="en-US" sz="1200" b="0" dirty="0">
              <a:ea typeface="Calibri" panose="020F0502020204030204" pitchFamily="34" charset="0"/>
              <a:cs typeface="Calibri" panose="020F0502020204030204" pitchFamily="34" charset="0"/>
            </a:endParaRPr>
          </a:p>
          <a:p>
            <a:endParaRPr lang="en-US" sz="1200" b="0" dirty="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376235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D63D8-F251-C4B4-B3DD-F58BE99D64D3}"/>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AE58266-DB70-BC66-DCFB-A4A42110DA9B}"/>
              </a:ext>
            </a:extLst>
          </p:cNvPr>
          <p:cNvPicPr>
            <a:picLocks noGrp="1" noChangeAspect="1"/>
          </p:cNvPicPr>
          <p:nvPr>
            <p:ph type="pic" sz="quarter" idx="43"/>
          </p:nvPr>
        </p:nvPicPr>
        <p:blipFill>
          <a:blip r:embed="rId2">
            <a:extLst>
              <a:ext uri="{28A0092B-C50C-407E-A947-70E740481C1C}">
                <a14:useLocalDpi xmlns:a14="http://schemas.microsoft.com/office/drawing/2010/main" val="0"/>
              </a:ext>
            </a:extLst>
          </a:blip>
          <a:srcRect/>
          <a:stretch/>
        </p:blipFill>
        <p:spPr>
          <a:xfrm>
            <a:off x="5436946" y="608013"/>
            <a:ext cx="5715262" cy="5715262"/>
          </a:xfrm>
        </p:spPr>
      </p:pic>
      <p:sp>
        <p:nvSpPr>
          <p:cNvPr id="5" name="Title 5">
            <a:extLst>
              <a:ext uri="{FF2B5EF4-FFF2-40B4-BE49-F238E27FC236}">
                <a16:creationId xmlns:a16="http://schemas.microsoft.com/office/drawing/2014/main" id="{3A2AF28D-FD70-524E-C35B-35EAE3DCDE66}"/>
              </a:ext>
            </a:extLst>
          </p:cNvPr>
          <p:cNvSpPr>
            <a:spLocks noGrp="1"/>
          </p:cNvSpPr>
          <p:nvPr>
            <p:ph type="title"/>
          </p:nvPr>
        </p:nvSpPr>
        <p:spPr>
          <a:xfrm>
            <a:off x="285602" y="722250"/>
            <a:ext cx="4792662" cy="1662325"/>
          </a:xfrm>
        </p:spPr>
        <p:txBody>
          <a:bodyPr/>
          <a:lstStyle/>
          <a:p>
            <a:r>
              <a:rPr lang="en-GB" dirty="0">
                <a:cs typeface="Arial"/>
              </a:rPr>
              <a:t>Solution Architecture </a:t>
            </a:r>
            <a:endParaRPr lang="en-US" dirty="0"/>
          </a:p>
        </p:txBody>
      </p:sp>
    </p:spTree>
    <p:extLst>
      <p:ext uri="{BB962C8B-B14F-4D97-AF65-F5344CB8AC3E}">
        <p14:creationId xmlns:p14="http://schemas.microsoft.com/office/powerpoint/2010/main" val="306103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oftwareOne Colours">
      <a:dk1>
        <a:sysClr val="windowText" lastClr="000000"/>
      </a:dk1>
      <a:lt1>
        <a:srgbClr val="FFFFFF"/>
      </a:lt1>
      <a:dk2>
        <a:srgbClr val="3E00FF"/>
      </a:dk2>
      <a:lt2>
        <a:srgbClr val="E7E6E6"/>
      </a:lt2>
      <a:accent1>
        <a:srgbClr val="3E00FF"/>
      </a:accent1>
      <a:accent2>
        <a:srgbClr val="00ECD4"/>
      </a:accent2>
      <a:accent3>
        <a:srgbClr val="E3EE14"/>
      </a:accent3>
      <a:accent4>
        <a:srgbClr val="00DEFF"/>
      </a:accent4>
      <a:accent5>
        <a:srgbClr val="81A5FF"/>
      </a:accent5>
      <a:accent6>
        <a:srgbClr val="B7A5FF"/>
      </a:accent6>
      <a:hlink>
        <a:srgbClr val="3E00FF"/>
      </a:hlink>
      <a:folHlink>
        <a:srgbClr val="00EFED"/>
      </a:folHlink>
    </a:clrScheme>
    <a:fontScheme name="Custom 3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ustom Color 1">
      <a:srgbClr val="1DF1A4"/>
    </a:custClr>
    <a:custClr name="Custom Color 2">
      <a:srgbClr val="E6F114"/>
    </a:custClr>
    <a:custClr name="Custom Color 3">
      <a:srgbClr val="1801B4"/>
    </a:custClr>
  </a:custClrLst>
  <a:extLst>
    <a:ext uri="{05A4C25C-085E-4340-85A3-A5531E510DB2}">
      <thm15:themeFamily xmlns:thm15="http://schemas.microsoft.com/office/thememl/2012/main" name="PPT-template-SoftwareOne-basic" id="{BA595052-629B-424A-B4D5-1CABD06940D0}" vid="{F0BA4176-6389-40BA-AE04-48FA5F7EDD2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875" row="1">
    <wetp:webextensionref xmlns:r="http://schemas.openxmlformats.org/officeDocument/2006/relationships" r:id="rId1"/>
  </wetp:taskpane>
  <wetp:taskpane dockstate="right" visibility="0" width="350" row="1">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51320080-544D-4B67-8922-B3E965B29985}">
  <we:reference id="wa104381063" version="1.0.0.1" store="en-001" storeType="OMEX"/>
  <we:alternateReferences>
    <we:reference id="WA104381063" version="1.0.0.1" store=""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75282DAB-6A26-4B49-9D33-7F4BD1AB2E97}">
  <we:reference id="f12c312d-282a-4734-8843-05915fdfef0b" version="4.3.3.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f554e22-a01a-4534-9f17-2063d086ca91">
      <Terms xmlns="http://schemas.microsoft.com/office/infopath/2007/PartnerControls"/>
    </lcf76f155ced4ddcb4097134ff3c332f>
    <TaxCatchAll xmlns="9d8a9827-902e-461c-8eb3-25eae6af3c6e" xsi:nil="true"/>
    <MediaLengthInSeconds xmlns="3f554e22-a01a-4534-9f17-2063d086ca9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BBB613A3F28C478CB48D0F1F573A0B" ma:contentTypeVersion="14" ma:contentTypeDescription="Create a new document." ma:contentTypeScope="" ma:versionID="bce207443c92c8be41825204809313d0">
  <xsd:schema xmlns:xsd="http://www.w3.org/2001/XMLSchema" xmlns:xs="http://www.w3.org/2001/XMLSchema" xmlns:p="http://schemas.microsoft.com/office/2006/metadata/properties" xmlns:ns2="3f554e22-a01a-4534-9f17-2063d086ca91" xmlns:ns3="9d8a9827-902e-461c-8eb3-25eae6af3c6e" targetNamespace="http://schemas.microsoft.com/office/2006/metadata/properties" ma:root="true" ma:fieldsID="01e23b1d05aa5b06ecc572790e5aab02" ns2:_="" ns3:_="">
    <xsd:import namespace="3f554e22-a01a-4534-9f17-2063d086ca91"/>
    <xsd:import namespace="9d8a9827-902e-461c-8eb3-25eae6af3c6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554e22-a01a-4534-9f17-2063d086ca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7f68753-1e36-4716-ad1e-f6d5661a739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8a9827-902e-461c-8eb3-25eae6af3c6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bda1a4b-aa07-49eb-8516-b2aee6edbf56}" ma:internalName="TaxCatchAll" ma:showField="CatchAllData" ma:web="9d8a9827-902e-461c-8eb3-25eae6af3c6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8D825E-9FAE-46A1-8663-DEC03CF9314C}">
  <ds:schemaRefs>
    <ds:schemaRef ds:uri="6faa40cd-7e7b-4e7c-9d6b-83e75c3d3cf1"/>
    <ds:schemaRef ds:uri="87bc3765-d870-4c7d-ba55-92ef135e3a4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3f554e22-a01a-4534-9f17-2063d086ca91"/>
    <ds:schemaRef ds:uri="9d8a9827-902e-461c-8eb3-25eae6af3c6e"/>
  </ds:schemaRefs>
</ds:datastoreItem>
</file>

<file path=customXml/itemProps2.xml><?xml version="1.0" encoding="utf-8"?>
<ds:datastoreItem xmlns:ds="http://schemas.openxmlformats.org/officeDocument/2006/customXml" ds:itemID="{57AB11D7-BAEE-489B-B268-7A779C2BFE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554e22-a01a-4534-9f17-2063d086ca91"/>
    <ds:schemaRef ds:uri="9d8a9827-902e-461c-8eb3-25eae6af3c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882D002-4DA9-4D4A-B555-0824182E8D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867</TotalTime>
  <Words>1687</Words>
  <Application>Microsoft Macintosh PowerPoint</Application>
  <PresentationFormat>Widescreen</PresentationFormat>
  <Paragraphs>249</Paragraphs>
  <Slides>19</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0" baseType="lpstr">
      <vt:lpstr>__fkGroteskNeue_598ab8</vt:lpstr>
      <vt:lpstr>Airal</vt:lpstr>
      <vt:lpstr>Aptos Narrow</vt:lpstr>
      <vt:lpstr>Arial</vt:lpstr>
      <vt:lpstr>Calibri</vt:lpstr>
      <vt:lpstr>Montserrat</vt:lpstr>
      <vt:lpstr>Segoe UI</vt:lpstr>
      <vt:lpstr>Segoe UI Semibold</vt:lpstr>
      <vt:lpstr>Symbol</vt:lpstr>
      <vt:lpstr>Office Theme</vt:lpstr>
      <vt:lpstr>think-cell Slide</vt:lpstr>
      <vt:lpstr>Furama – Gen AI Chatbot Assistant  </vt:lpstr>
      <vt:lpstr>Our Understanding of Your Requirements</vt:lpstr>
      <vt:lpstr>SoftwareOne Understanding</vt:lpstr>
      <vt:lpstr>Existing Challenges</vt:lpstr>
      <vt:lpstr>Technical Requirements</vt:lpstr>
      <vt:lpstr>Our Approach &amp; Solution</vt:lpstr>
      <vt:lpstr>Approach</vt:lpstr>
      <vt:lpstr>Proposed Solution</vt:lpstr>
      <vt:lpstr>Solution Architecture </vt:lpstr>
      <vt:lpstr>PowerPoint Presentation</vt:lpstr>
      <vt:lpstr>Pilot Scope</vt:lpstr>
      <vt:lpstr>Pilot Deliverables</vt:lpstr>
      <vt:lpstr>Pilot Assumptions</vt:lpstr>
      <vt:lpstr>Exclusions &amp; Dependencies</vt:lpstr>
      <vt:lpstr>Tenataive Project Timeline - Pilot</vt:lpstr>
      <vt:lpstr>Project Team Structure</vt:lpstr>
      <vt:lpstr>Commercials</vt:lpstr>
      <vt:lpstr>Professional Services </vt:lpstr>
      <vt:lpstr>Thank You</vt:lpstr>
    </vt:vector>
  </TitlesOfParts>
  <Manager/>
  <Company>SoftwareON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Wan, Triston</dc:creator>
  <cp:lastModifiedBy>kapur, Vaibhav</cp:lastModifiedBy>
  <cp:revision>155</cp:revision>
  <dcterms:created xsi:type="dcterms:W3CDTF">2024-04-01T02:23:10Z</dcterms:created>
  <dcterms:modified xsi:type="dcterms:W3CDTF">2024-10-01T01:48:35Z</dcterms:modified>
  <cp:category>Internal Business</cp:category>
</cp: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89ec2c33-b52c-4893-a071-e40c9397febd_Enabled">
    <vt:lpwstr>true</vt:lpwstr>
  </op:property>
  <op:property fmtid="{D5CDD505-2E9C-101B-9397-08002B2CF9AE}" pid="3" name="MSIP_Label_89ec2c33-b52c-4893-a071-e40c9397febd_SetDate">
    <vt:lpwstr>2022-09-30T02:09:17Z</vt:lpwstr>
  </op:property>
  <op:property fmtid="{D5CDD505-2E9C-101B-9397-08002B2CF9AE}" pid="4" name="MSIP_Label_89ec2c33-b52c-4893-a071-e40c9397febd_Method">
    <vt:lpwstr>Standard</vt:lpwstr>
  </op:property>
  <op:property fmtid="{D5CDD505-2E9C-101B-9397-08002B2CF9AE}" pid="5" name="MSIP_Label_89ec2c33-b52c-4893-a071-e40c9397febd_Name">
    <vt:lpwstr>defa4170-0d19-0005-0003-bc88714345d2</vt:lpwstr>
  </op:property>
  <op:property fmtid="{D5CDD505-2E9C-101B-9397-08002B2CF9AE}" pid="6" name="MSIP_Label_89ec2c33-b52c-4893-a071-e40c9397febd_SiteId">
    <vt:lpwstr>23b07f30-245e-487f-8cb8-5b313cdffa7d</vt:lpwstr>
  </op:property>
  <op:property fmtid="{D5CDD505-2E9C-101B-9397-08002B2CF9AE}" pid="7" name="MSIP_Label_89ec2c33-b52c-4893-a071-e40c9397febd_ActionId">
    <vt:lpwstr>82a1eeb5-5cf2-4abc-a74a-deb2bc0cfb22</vt:lpwstr>
  </op:property>
  <op:property fmtid="{D5CDD505-2E9C-101B-9397-08002B2CF9AE}" pid="8" name="MSIP_Label_89ec2c33-b52c-4893-a071-e40c9397febd_ContentBits">
    <vt:lpwstr>0</vt:lpwstr>
  </op:property>
  <op:property fmtid="{D5CDD505-2E9C-101B-9397-08002B2CF9AE}" pid="9" name="ContentTypeId">
    <vt:lpwstr>0x010100B8BBB613A3F28C478CB48D0F1F573A0B</vt:lpwstr>
  </op:property>
  <op:property fmtid="{D5CDD505-2E9C-101B-9397-08002B2CF9AE}" pid="10" name="MediaServiceImageTags">
    <vt:lpwstr/>
  </op:property>
  <op:property fmtid="{D5CDD505-2E9C-101B-9397-08002B2CF9AE}" pid="11" name="ComplianceAssetId">
    <vt:lpwstr/>
  </op:property>
  <op:property fmtid="{D5CDD505-2E9C-101B-9397-08002B2CF9AE}" pid="12" name="_ExtendedDescription">
    <vt:lpwstr/>
  </op:property>
  <op:property fmtid="{D5CDD505-2E9C-101B-9397-08002B2CF9AE}" pid="13" name="_activity">
    <vt:lpwstr>{"FileActivityType":"11","FileActivityTimeStamp":"2024-09-09T02:32:07.643Z","FileActivityUsersOnPage":[{"DisplayName":"kapur, Vaibhav","Id":"vaibhav.kapur@softwareone.com"},{"DisplayName":"Ngee, Leon","Id":"leon.ngee@softwareone.com"}],"FileActivityNavigationId":null}</vt:lpwstr>
  </op:property>
  <op:property fmtid="{D5CDD505-2E9C-101B-9397-08002B2CF9AE}" pid="14" name="TriggerFlowInfo">
    <vt:lpwstr/>
  </op:property>
  <op:property fmtid="{D5CDD505-2E9C-101B-9397-08002B2CF9AE}" pid="15" name="MSIP_Label_70303ad9-2731-4ae9-a1fd-541aca177e1e_Enabled">
    <vt:lpwstr>true</vt:lpwstr>
  </op:property>
  <op:property fmtid="{D5CDD505-2E9C-101B-9397-08002B2CF9AE}" pid="16" name="MSIP_Label_70303ad9-2731-4ae9-a1fd-541aca177e1e_SetDate">
    <vt:lpwstr>2025-03-25T14:51:38Z</vt:lpwstr>
  </op:property>
  <op:property fmtid="{D5CDD505-2E9C-101B-9397-08002B2CF9AE}" pid="17" name="MSIP_Label_70303ad9-2731-4ae9-a1fd-541aca177e1e_Method">
    <vt:lpwstr>Standard</vt:lpwstr>
  </op:property>
  <op:property fmtid="{D5CDD505-2E9C-101B-9397-08002B2CF9AE}" pid="18" name="MSIP_Label_70303ad9-2731-4ae9-a1fd-541aca177e1e_Name">
    <vt:lpwstr>Internal_Business</vt:lpwstr>
  </op:property>
  <op:property fmtid="{D5CDD505-2E9C-101B-9397-08002B2CF9AE}" pid="19" name="MSIP_Label_70303ad9-2731-4ae9-a1fd-541aca177e1e_SiteId">
    <vt:lpwstr>1dc9b339-fadb-432e-86df-423c38a0fcb8</vt:lpwstr>
  </op:property>
  <op:property fmtid="{D5CDD505-2E9C-101B-9397-08002B2CF9AE}" pid="20" name="MSIP_Label_70303ad9-2731-4ae9-a1fd-541aca177e1e_ActionId">
    <vt:lpwstr>2e1dd8d4-883e-4e82-ae4d-32b9b212a4f6</vt:lpwstr>
  </op:property>
  <op:property fmtid="{D5CDD505-2E9C-101B-9397-08002B2CF9AE}" pid="21" name="MSIP_Label_70303ad9-2731-4ae9-a1fd-541aca177e1e_GeneratedBy">
    <vt:lpwstr>Cognni</vt:lpwstr>
  </op:property>
  <op:property fmtid="{D5CDD505-2E9C-101B-9397-08002B2CF9AE}" pid="22" name="MSIP_Label_70303ad9-2731-4ae9-a1fd-541aca177e1e_Category">
    <vt:lpwstr>Internal Business</vt:lpwstr>
  </op:property>
  <op:property fmtid="{D5CDD505-2E9C-101B-9397-08002B2CF9AE}" pid="23" name="MSIP_Label_70303ad9-2731-4ae9-a1fd-541aca177e1e_ContentBits">
    <vt:lpwstr>0</vt:lpwstr>
  </op:property>
  <op:property fmtid="{D5CDD505-2E9C-101B-9397-08002B2CF9AE}" pid="24" name="CognniClassificationMarked">
    <vt:lpwstr>1</vt:lpwstr>
  </op:property>
</op:Properties>
</file>